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7.xml" ContentType="application/vnd.openxmlformats-officedocument.presentationml.tags+xml"/>
  <Override PartName="/ppt/notesSlides/notesSlide29.xml" ContentType="application/vnd.openxmlformats-officedocument.presentationml.notesSlide+xml"/>
  <Override PartName="/ppt/tags/tag18.xml" ContentType="application/vnd.openxmlformats-officedocument.presentationml.tags+xml"/>
  <Override PartName="/ppt/notesSlides/notesSlide30.xml" ContentType="application/vnd.openxmlformats-officedocument.presentationml.notesSlide+xml"/>
  <Override PartName="/ppt/tags/tag19.xml" ContentType="application/vnd.openxmlformats-officedocument.presentationml.tags+xml"/>
  <Override PartName="/ppt/notesSlides/notesSlide31.xml" ContentType="application/vnd.openxmlformats-officedocument.presentationml.notesSlide+xml"/>
  <Override PartName="/ppt/tags/tag20.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1.xml" ContentType="application/vnd.openxmlformats-officedocument.presentationml.tags+xml"/>
  <Override PartName="/ppt/notesSlides/notesSlide34.xml" ContentType="application/vnd.openxmlformats-officedocument.presentationml.notesSlide+xml"/>
  <Override PartName="/ppt/tags/tag22.xml" ContentType="application/vnd.openxmlformats-officedocument.presentationml.tags+xml"/>
  <Override PartName="/ppt/notesSlides/notesSlide35.xml" ContentType="application/vnd.openxmlformats-officedocument.presentationml.notesSlide+xml"/>
  <Override PartName="/ppt/tags/tag23.xml" ContentType="application/vnd.openxmlformats-officedocument.presentationml.tags+xml"/>
  <Override PartName="/ppt/notesSlides/notesSlide36.xml" ContentType="application/vnd.openxmlformats-officedocument.presentationml.notesSlide+xml"/>
  <Override PartName="/ppt/tags/tag24.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1" r:id="rId1"/>
    <p:sldMasterId id="2147483648" r:id="rId2"/>
  </p:sldMasterIdLst>
  <p:notesMasterIdLst>
    <p:notesMasterId r:id="rId41"/>
  </p:notesMasterIdLst>
  <p:sldIdLst>
    <p:sldId id="317" r:id="rId3"/>
    <p:sldId id="3322" r:id="rId4"/>
    <p:sldId id="318" r:id="rId5"/>
    <p:sldId id="319" r:id="rId6"/>
    <p:sldId id="320" r:id="rId7"/>
    <p:sldId id="321" r:id="rId8"/>
    <p:sldId id="322" r:id="rId9"/>
    <p:sldId id="4685" r:id="rId10"/>
    <p:sldId id="324" r:id="rId11"/>
    <p:sldId id="325" r:id="rId12"/>
    <p:sldId id="330" r:id="rId13"/>
    <p:sldId id="336" r:id="rId14"/>
    <p:sldId id="345" r:id="rId15"/>
    <p:sldId id="347" r:id="rId16"/>
    <p:sldId id="348" r:id="rId17"/>
    <p:sldId id="349" r:id="rId18"/>
    <p:sldId id="350" r:id="rId19"/>
    <p:sldId id="351" r:id="rId20"/>
    <p:sldId id="352" r:id="rId21"/>
    <p:sldId id="353" r:id="rId22"/>
    <p:sldId id="354" r:id="rId23"/>
    <p:sldId id="4686" r:id="rId24"/>
    <p:sldId id="4427" r:id="rId25"/>
    <p:sldId id="355" r:id="rId26"/>
    <p:sldId id="356" r:id="rId27"/>
    <p:sldId id="357" r:id="rId28"/>
    <p:sldId id="364" r:id="rId29"/>
    <p:sldId id="4691" r:id="rId30"/>
    <p:sldId id="381" r:id="rId31"/>
    <p:sldId id="382" r:id="rId32"/>
    <p:sldId id="383" r:id="rId33"/>
    <p:sldId id="384" r:id="rId34"/>
    <p:sldId id="385" r:id="rId35"/>
    <p:sldId id="387" r:id="rId36"/>
    <p:sldId id="388" r:id="rId37"/>
    <p:sldId id="389" r:id="rId38"/>
    <p:sldId id="390" r:id="rId39"/>
    <p:sldId id="4278" r:id="rId40"/>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5473"/>
    <a:srgbClr val="E53292"/>
    <a:srgbClr val="F95C2C"/>
    <a:srgbClr val="E64D92"/>
    <a:srgbClr val="D1DB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E4E262-EF5E-4DCC-8585-C7C293F726C4}" v="57" dt="2020-11-23T07:52:01.668"/>
    <p1510:client id="{87EC33F8-20F9-4A9B-8B0C-47C86D280FAD}" v="3609" dt="2020-11-23T14:05:59.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774"/>
    <p:restoredTop sz="94713"/>
  </p:normalViewPr>
  <p:slideViewPr>
    <p:cSldViewPr snapToGrid="0" snapToObjects="1">
      <p:cViewPr>
        <p:scale>
          <a:sx n="66" d="100"/>
          <a:sy n="66" d="100"/>
        </p:scale>
        <p:origin x="-906" y="66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enos Zenica" userId="de3ee720dba36952" providerId="Windows Live" clId="Web-{48E4E262-EF5E-4DCC-8585-C7C293F726C4}"/>
    <pc:docChg chg="addSld delSld sldOrd">
      <pc:chgData name="Zenos Zenica" userId="de3ee720dba36952" providerId="Windows Live" clId="Web-{48E4E262-EF5E-4DCC-8585-C7C293F726C4}" dt="2020-11-23T07:52:01.668" v="56"/>
      <pc:docMkLst>
        <pc:docMk/>
      </pc:docMkLst>
      <pc:sldChg chg="del">
        <pc:chgData name="Zenos Zenica" userId="de3ee720dba36952" providerId="Windows Live" clId="Web-{48E4E262-EF5E-4DCC-8585-C7C293F726C4}" dt="2020-11-23T07:51:22.729" v="13"/>
        <pc:sldMkLst>
          <pc:docMk/>
          <pc:sldMk cId="2751410079" sldId="656"/>
        </pc:sldMkLst>
      </pc:sldChg>
      <pc:sldChg chg="del">
        <pc:chgData name="Zenos Zenica" userId="de3ee720dba36952" providerId="Windows Live" clId="Web-{48E4E262-EF5E-4DCC-8585-C7C293F726C4}" dt="2020-11-23T07:51:27.167" v="19"/>
        <pc:sldMkLst>
          <pc:docMk/>
          <pc:sldMk cId="636982651" sldId="3308"/>
        </pc:sldMkLst>
      </pc:sldChg>
      <pc:sldChg chg="del">
        <pc:chgData name="Zenos Zenica" userId="de3ee720dba36952" providerId="Windows Live" clId="Web-{48E4E262-EF5E-4DCC-8585-C7C293F726C4}" dt="2020-11-23T07:51:08.432" v="3"/>
        <pc:sldMkLst>
          <pc:docMk/>
          <pc:sldMk cId="1081143013" sldId="3322"/>
        </pc:sldMkLst>
      </pc:sldChg>
      <pc:sldChg chg="del">
        <pc:chgData name="Zenos Zenica" userId="de3ee720dba36952" providerId="Windows Live" clId="Web-{48E4E262-EF5E-4DCC-8585-C7C293F726C4}" dt="2020-11-23T07:51:40.089" v="38"/>
        <pc:sldMkLst>
          <pc:docMk/>
          <pc:sldMk cId="2314694749" sldId="3324"/>
        </pc:sldMkLst>
      </pc:sldChg>
      <pc:sldChg chg="del">
        <pc:chgData name="Zenos Zenica" userId="de3ee720dba36952" providerId="Windows Live" clId="Web-{48E4E262-EF5E-4DCC-8585-C7C293F726C4}" dt="2020-11-23T07:51:28.120" v="20"/>
        <pc:sldMkLst>
          <pc:docMk/>
          <pc:sldMk cId="1820136793" sldId="3325"/>
        </pc:sldMkLst>
      </pc:sldChg>
      <pc:sldChg chg="del">
        <pc:chgData name="Zenos Zenica" userId="de3ee720dba36952" providerId="Windows Live" clId="Web-{48E4E262-EF5E-4DCC-8585-C7C293F726C4}" dt="2020-11-23T07:51:25.932" v="17"/>
        <pc:sldMkLst>
          <pc:docMk/>
          <pc:sldMk cId="95585474" sldId="3336"/>
        </pc:sldMkLst>
      </pc:sldChg>
      <pc:sldChg chg="del">
        <pc:chgData name="Zenos Zenica" userId="de3ee720dba36952" providerId="Windows Live" clId="Web-{48E4E262-EF5E-4DCC-8585-C7C293F726C4}" dt="2020-11-23T07:51:20.916" v="9"/>
        <pc:sldMkLst>
          <pc:docMk/>
          <pc:sldMk cId="1747924527" sldId="3337"/>
        </pc:sldMkLst>
      </pc:sldChg>
      <pc:sldChg chg="del">
        <pc:chgData name="Zenos Zenica" userId="de3ee720dba36952" providerId="Windows Live" clId="Web-{48E4E262-EF5E-4DCC-8585-C7C293F726C4}" dt="2020-11-23T07:51:21.323" v="10"/>
        <pc:sldMkLst>
          <pc:docMk/>
          <pc:sldMk cId="896895879" sldId="3338"/>
        </pc:sldMkLst>
      </pc:sldChg>
      <pc:sldChg chg="del">
        <pc:chgData name="Zenos Zenica" userId="de3ee720dba36952" providerId="Windows Live" clId="Web-{48E4E262-EF5E-4DCC-8585-C7C293F726C4}" dt="2020-11-23T07:51:22.354" v="11"/>
        <pc:sldMkLst>
          <pc:docMk/>
          <pc:sldMk cId="1194611426" sldId="3339"/>
        </pc:sldMkLst>
      </pc:sldChg>
      <pc:sldChg chg="del">
        <pc:chgData name="Zenos Zenica" userId="de3ee720dba36952" providerId="Windows Live" clId="Web-{48E4E262-EF5E-4DCC-8585-C7C293F726C4}" dt="2020-11-23T07:51:22.370" v="12"/>
        <pc:sldMkLst>
          <pc:docMk/>
          <pc:sldMk cId="1744402656" sldId="3341"/>
        </pc:sldMkLst>
      </pc:sldChg>
      <pc:sldChg chg="del">
        <pc:chgData name="Zenos Zenica" userId="de3ee720dba36952" providerId="Windows Live" clId="Web-{48E4E262-EF5E-4DCC-8585-C7C293F726C4}" dt="2020-11-23T07:51:48.417" v="42"/>
        <pc:sldMkLst>
          <pc:docMk/>
          <pc:sldMk cId="3803869599" sldId="3342"/>
        </pc:sldMkLst>
      </pc:sldChg>
      <pc:sldChg chg="del">
        <pc:chgData name="Zenos Zenica" userId="de3ee720dba36952" providerId="Windows Live" clId="Web-{48E4E262-EF5E-4DCC-8585-C7C293F726C4}" dt="2020-11-23T07:51:48.699" v="43"/>
        <pc:sldMkLst>
          <pc:docMk/>
          <pc:sldMk cId="3185193610" sldId="3343"/>
        </pc:sldMkLst>
      </pc:sldChg>
      <pc:sldChg chg="del">
        <pc:chgData name="Zenos Zenica" userId="de3ee720dba36952" providerId="Windows Live" clId="Web-{48E4E262-EF5E-4DCC-8585-C7C293F726C4}" dt="2020-11-23T07:51:48.714" v="44"/>
        <pc:sldMkLst>
          <pc:docMk/>
          <pc:sldMk cId="1001458029" sldId="3344"/>
        </pc:sldMkLst>
      </pc:sldChg>
      <pc:sldChg chg="del">
        <pc:chgData name="Zenos Zenica" userId="de3ee720dba36952" providerId="Windows Live" clId="Web-{48E4E262-EF5E-4DCC-8585-C7C293F726C4}" dt="2020-11-23T07:51:49.292" v="45"/>
        <pc:sldMkLst>
          <pc:docMk/>
          <pc:sldMk cId="3522403463" sldId="3345"/>
        </pc:sldMkLst>
      </pc:sldChg>
      <pc:sldChg chg="del">
        <pc:chgData name="Zenos Zenica" userId="de3ee720dba36952" providerId="Windows Live" clId="Web-{48E4E262-EF5E-4DCC-8585-C7C293F726C4}" dt="2020-11-23T07:51:49.824" v="46"/>
        <pc:sldMkLst>
          <pc:docMk/>
          <pc:sldMk cId="1136903043" sldId="3346"/>
        </pc:sldMkLst>
      </pc:sldChg>
      <pc:sldChg chg="del">
        <pc:chgData name="Zenos Zenica" userId="de3ee720dba36952" providerId="Windows Live" clId="Web-{48E4E262-EF5E-4DCC-8585-C7C293F726C4}" dt="2020-11-23T07:51:50.355" v="47"/>
        <pc:sldMkLst>
          <pc:docMk/>
          <pc:sldMk cId="2346756623" sldId="3347"/>
        </pc:sldMkLst>
      </pc:sldChg>
      <pc:sldChg chg="del">
        <pc:chgData name="Zenos Zenica" userId="de3ee720dba36952" providerId="Windows Live" clId="Web-{48E4E262-EF5E-4DCC-8585-C7C293F726C4}" dt="2020-11-23T07:51:50.652" v="48"/>
        <pc:sldMkLst>
          <pc:docMk/>
          <pc:sldMk cId="618627144" sldId="3348"/>
        </pc:sldMkLst>
      </pc:sldChg>
      <pc:sldChg chg="del">
        <pc:chgData name="Zenos Zenica" userId="de3ee720dba36952" providerId="Windows Live" clId="Web-{48E4E262-EF5E-4DCC-8585-C7C293F726C4}" dt="2020-11-23T07:51:50.949" v="49"/>
        <pc:sldMkLst>
          <pc:docMk/>
          <pc:sldMk cId="3929150096" sldId="3349"/>
        </pc:sldMkLst>
      </pc:sldChg>
      <pc:sldChg chg="del">
        <pc:chgData name="Zenos Zenica" userId="de3ee720dba36952" providerId="Windows Live" clId="Web-{48E4E262-EF5E-4DCC-8585-C7C293F726C4}" dt="2020-11-23T07:51:51.527" v="50"/>
        <pc:sldMkLst>
          <pc:docMk/>
          <pc:sldMk cId="2226171858" sldId="3350"/>
        </pc:sldMkLst>
      </pc:sldChg>
      <pc:sldChg chg="del">
        <pc:chgData name="Zenos Zenica" userId="de3ee720dba36952" providerId="Windows Live" clId="Web-{48E4E262-EF5E-4DCC-8585-C7C293F726C4}" dt="2020-11-23T07:51:51.824" v="51"/>
        <pc:sldMkLst>
          <pc:docMk/>
          <pc:sldMk cId="1657241537" sldId="3351"/>
        </pc:sldMkLst>
      </pc:sldChg>
      <pc:sldChg chg="del">
        <pc:chgData name="Zenos Zenica" userId="de3ee720dba36952" providerId="Windows Live" clId="Web-{48E4E262-EF5E-4DCC-8585-C7C293F726C4}" dt="2020-11-23T07:51:52.574" v="52"/>
        <pc:sldMkLst>
          <pc:docMk/>
          <pc:sldMk cId="3913240375" sldId="3352"/>
        </pc:sldMkLst>
      </pc:sldChg>
      <pc:sldChg chg="del">
        <pc:chgData name="Zenos Zenica" userId="de3ee720dba36952" providerId="Windows Live" clId="Web-{48E4E262-EF5E-4DCC-8585-C7C293F726C4}" dt="2020-11-23T07:51:26.510" v="18"/>
        <pc:sldMkLst>
          <pc:docMk/>
          <pc:sldMk cId="441202695" sldId="3353"/>
        </pc:sldMkLst>
      </pc:sldChg>
      <pc:sldChg chg="del">
        <pc:chgData name="Zenos Zenica" userId="de3ee720dba36952" providerId="Windows Live" clId="Web-{48E4E262-EF5E-4DCC-8585-C7C293F726C4}" dt="2020-11-23T07:51:14.338" v="5"/>
        <pc:sldMkLst>
          <pc:docMk/>
          <pc:sldMk cId="1980646231" sldId="3355"/>
        </pc:sldMkLst>
      </pc:sldChg>
      <pc:sldChg chg="del ord">
        <pc:chgData name="Zenos Zenica" userId="de3ee720dba36952" providerId="Windows Live" clId="Web-{48E4E262-EF5E-4DCC-8585-C7C293F726C4}" dt="2020-11-23T07:51:19.119" v="7"/>
        <pc:sldMkLst>
          <pc:docMk/>
          <pc:sldMk cId="2893588497" sldId="3356"/>
        </pc:sldMkLst>
      </pc:sldChg>
      <pc:sldChg chg="del">
        <pc:chgData name="Zenos Zenica" userId="de3ee720dba36952" providerId="Windows Live" clId="Web-{48E4E262-EF5E-4DCC-8585-C7C293F726C4}" dt="2020-11-23T07:52:00.574" v="55"/>
        <pc:sldMkLst>
          <pc:docMk/>
          <pc:sldMk cId="3118804360" sldId="3357"/>
        </pc:sldMkLst>
      </pc:sldChg>
      <pc:sldChg chg="del">
        <pc:chgData name="Zenos Zenica" userId="de3ee720dba36952" providerId="Windows Live" clId="Web-{48E4E262-EF5E-4DCC-8585-C7C293F726C4}" dt="2020-11-23T07:51:23.182" v="14"/>
        <pc:sldMkLst>
          <pc:docMk/>
          <pc:sldMk cId="3151600471" sldId="3416"/>
        </pc:sldMkLst>
      </pc:sldChg>
      <pc:sldChg chg="del">
        <pc:chgData name="Zenos Zenica" userId="de3ee720dba36952" providerId="Windows Live" clId="Web-{48E4E262-EF5E-4DCC-8585-C7C293F726C4}" dt="2020-11-23T07:51:34.651" v="29"/>
        <pc:sldMkLst>
          <pc:docMk/>
          <pc:sldMk cId="2943454782" sldId="3417"/>
        </pc:sldMkLst>
      </pc:sldChg>
      <pc:sldChg chg="del">
        <pc:chgData name="Zenos Zenica" userId="de3ee720dba36952" providerId="Windows Live" clId="Web-{48E4E262-EF5E-4DCC-8585-C7C293F726C4}" dt="2020-11-23T07:52:01.668" v="56"/>
        <pc:sldMkLst>
          <pc:docMk/>
          <pc:sldMk cId="714886677" sldId="3420"/>
        </pc:sldMkLst>
      </pc:sldChg>
      <pc:sldChg chg="del">
        <pc:chgData name="Zenos Zenica" userId="de3ee720dba36952" providerId="Windows Live" clId="Web-{48E4E262-EF5E-4DCC-8585-C7C293F726C4}" dt="2020-11-23T07:51:36.073" v="31"/>
        <pc:sldMkLst>
          <pc:docMk/>
          <pc:sldMk cId="2431529789" sldId="3422"/>
        </pc:sldMkLst>
      </pc:sldChg>
      <pc:sldChg chg="del">
        <pc:chgData name="Zenos Zenica" userId="de3ee720dba36952" providerId="Windows Live" clId="Web-{48E4E262-EF5E-4DCC-8585-C7C293F726C4}" dt="2020-11-23T07:51:36.823" v="32"/>
        <pc:sldMkLst>
          <pc:docMk/>
          <pc:sldMk cId="2415010360" sldId="3423"/>
        </pc:sldMkLst>
      </pc:sldChg>
      <pc:sldChg chg="del">
        <pc:chgData name="Zenos Zenica" userId="de3ee720dba36952" providerId="Windows Live" clId="Web-{48E4E262-EF5E-4DCC-8585-C7C293F726C4}" dt="2020-11-23T07:51:37.198" v="33"/>
        <pc:sldMkLst>
          <pc:docMk/>
          <pc:sldMk cId="384604115" sldId="3424"/>
        </pc:sldMkLst>
      </pc:sldChg>
      <pc:sldChg chg="del">
        <pc:chgData name="Zenos Zenica" userId="de3ee720dba36952" providerId="Windows Live" clId="Web-{48E4E262-EF5E-4DCC-8585-C7C293F726C4}" dt="2020-11-23T07:51:37.870" v="34"/>
        <pc:sldMkLst>
          <pc:docMk/>
          <pc:sldMk cId="1922954209" sldId="3425"/>
        </pc:sldMkLst>
      </pc:sldChg>
      <pc:sldChg chg="del">
        <pc:chgData name="Zenos Zenica" userId="de3ee720dba36952" providerId="Windows Live" clId="Web-{48E4E262-EF5E-4DCC-8585-C7C293F726C4}" dt="2020-11-23T07:51:38.589" v="35"/>
        <pc:sldMkLst>
          <pc:docMk/>
          <pc:sldMk cId="4221683711" sldId="3426"/>
        </pc:sldMkLst>
      </pc:sldChg>
      <pc:sldChg chg="del">
        <pc:chgData name="Zenos Zenica" userId="de3ee720dba36952" providerId="Windows Live" clId="Web-{48E4E262-EF5E-4DCC-8585-C7C293F726C4}" dt="2020-11-23T07:51:38.886" v="36"/>
        <pc:sldMkLst>
          <pc:docMk/>
          <pc:sldMk cId="1914390035" sldId="3427"/>
        </pc:sldMkLst>
      </pc:sldChg>
      <pc:sldChg chg="del">
        <pc:chgData name="Zenos Zenica" userId="de3ee720dba36952" providerId="Windows Live" clId="Web-{48E4E262-EF5E-4DCC-8585-C7C293F726C4}" dt="2020-11-23T07:51:39.558" v="37"/>
        <pc:sldMkLst>
          <pc:docMk/>
          <pc:sldMk cId="2154140175" sldId="3428"/>
        </pc:sldMkLst>
      </pc:sldChg>
      <pc:sldChg chg="del">
        <pc:chgData name="Zenos Zenica" userId="de3ee720dba36952" providerId="Windows Live" clId="Web-{48E4E262-EF5E-4DCC-8585-C7C293F726C4}" dt="2020-11-23T07:51:47.511" v="41"/>
        <pc:sldMkLst>
          <pc:docMk/>
          <pc:sldMk cId="2156171954" sldId="3429"/>
        </pc:sldMkLst>
      </pc:sldChg>
      <pc:sldChg chg="del">
        <pc:chgData name="Zenos Zenica" userId="de3ee720dba36952" providerId="Windows Live" clId="Web-{48E4E262-EF5E-4DCC-8585-C7C293F726C4}" dt="2020-11-23T07:51:52.589" v="53"/>
        <pc:sldMkLst>
          <pc:docMk/>
          <pc:sldMk cId="3564596886" sldId="3430"/>
        </pc:sldMkLst>
      </pc:sldChg>
      <pc:sldChg chg="del">
        <pc:chgData name="Zenos Zenica" userId="de3ee720dba36952" providerId="Windows Live" clId="Web-{48E4E262-EF5E-4DCC-8585-C7C293F726C4}" dt="2020-11-23T07:51:54.027" v="54"/>
        <pc:sldMkLst>
          <pc:docMk/>
          <pc:sldMk cId="928267502" sldId="3431"/>
        </pc:sldMkLst>
      </pc:sldChg>
      <pc:sldChg chg="del">
        <pc:chgData name="Zenos Zenica" userId="de3ee720dba36952" providerId="Windows Live" clId="Web-{48E4E262-EF5E-4DCC-8585-C7C293F726C4}" dt="2020-11-23T07:51:40.120" v="39"/>
        <pc:sldMkLst>
          <pc:docMk/>
          <pc:sldMk cId="795621440" sldId="4414"/>
        </pc:sldMkLst>
      </pc:sldChg>
      <pc:sldChg chg="del">
        <pc:chgData name="Zenos Zenica" userId="de3ee720dba36952" providerId="Windows Live" clId="Web-{48E4E262-EF5E-4DCC-8585-C7C293F726C4}" dt="2020-11-23T07:51:46.464" v="40"/>
        <pc:sldMkLst>
          <pc:docMk/>
          <pc:sldMk cId="1853713524" sldId="4415"/>
        </pc:sldMkLst>
      </pc:sldChg>
      <pc:sldChg chg="del">
        <pc:chgData name="Zenos Zenica" userId="de3ee720dba36952" providerId="Windows Live" clId="Web-{48E4E262-EF5E-4DCC-8585-C7C293F726C4}" dt="2020-11-23T07:51:24.542" v="15"/>
        <pc:sldMkLst>
          <pc:docMk/>
          <pc:sldMk cId="2135269489" sldId="4453"/>
        </pc:sldMkLst>
      </pc:sldChg>
      <pc:sldChg chg="del">
        <pc:chgData name="Zenos Zenica" userId="de3ee720dba36952" providerId="Windows Live" clId="Web-{48E4E262-EF5E-4DCC-8585-C7C293F726C4}" dt="2020-11-23T07:51:25.292" v="16"/>
        <pc:sldMkLst>
          <pc:docMk/>
          <pc:sldMk cId="324974782" sldId="4454"/>
        </pc:sldMkLst>
      </pc:sldChg>
      <pc:sldChg chg="del">
        <pc:chgData name="Zenos Zenica" userId="de3ee720dba36952" providerId="Windows Live" clId="Web-{48E4E262-EF5E-4DCC-8585-C7C293F726C4}" dt="2020-11-23T07:51:20.213" v="8"/>
        <pc:sldMkLst>
          <pc:docMk/>
          <pc:sldMk cId="204089798" sldId="4508"/>
        </pc:sldMkLst>
      </pc:sldChg>
      <pc:sldChg chg="del">
        <pc:chgData name="Zenos Zenica" userId="de3ee720dba36952" providerId="Windows Live" clId="Web-{48E4E262-EF5E-4DCC-8585-C7C293F726C4}" dt="2020-11-23T07:51:29.448" v="21"/>
        <pc:sldMkLst>
          <pc:docMk/>
          <pc:sldMk cId="1145838049" sldId="4509"/>
        </pc:sldMkLst>
      </pc:sldChg>
      <pc:sldChg chg="del">
        <pc:chgData name="Zenos Zenica" userId="de3ee720dba36952" providerId="Windows Live" clId="Web-{48E4E262-EF5E-4DCC-8585-C7C293F726C4}" dt="2020-11-23T07:51:30.089" v="22"/>
        <pc:sldMkLst>
          <pc:docMk/>
          <pc:sldMk cId="139839723" sldId="4510"/>
        </pc:sldMkLst>
      </pc:sldChg>
      <pc:sldChg chg="del">
        <pc:chgData name="Zenos Zenica" userId="de3ee720dba36952" providerId="Windows Live" clId="Web-{48E4E262-EF5E-4DCC-8585-C7C293F726C4}" dt="2020-11-23T07:51:31.057" v="23"/>
        <pc:sldMkLst>
          <pc:docMk/>
          <pc:sldMk cId="1101745320" sldId="4511"/>
        </pc:sldMkLst>
      </pc:sldChg>
      <pc:sldChg chg="del">
        <pc:chgData name="Zenos Zenica" userId="de3ee720dba36952" providerId="Windows Live" clId="Web-{48E4E262-EF5E-4DCC-8585-C7C293F726C4}" dt="2020-11-23T07:51:31.636" v="24"/>
        <pc:sldMkLst>
          <pc:docMk/>
          <pc:sldMk cId="2635086758" sldId="4512"/>
        </pc:sldMkLst>
      </pc:sldChg>
      <pc:sldChg chg="del">
        <pc:chgData name="Zenos Zenica" userId="de3ee720dba36952" providerId="Windows Live" clId="Web-{48E4E262-EF5E-4DCC-8585-C7C293F726C4}" dt="2020-11-23T07:51:32.276" v="25"/>
        <pc:sldMkLst>
          <pc:docMk/>
          <pc:sldMk cId="1492426281" sldId="4513"/>
        </pc:sldMkLst>
      </pc:sldChg>
      <pc:sldChg chg="del">
        <pc:chgData name="Zenos Zenica" userId="de3ee720dba36952" providerId="Windows Live" clId="Web-{48E4E262-EF5E-4DCC-8585-C7C293F726C4}" dt="2020-11-23T07:51:33.089" v="26"/>
        <pc:sldMkLst>
          <pc:docMk/>
          <pc:sldMk cId="651822727" sldId="4514"/>
        </pc:sldMkLst>
      </pc:sldChg>
      <pc:sldChg chg="del">
        <pc:chgData name="Zenos Zenica" userId="de3ee720dba36952" providerId="Windows Live" clId="Web-{48E4E262-EF5E-4DCC-8585-C7C293F726C4}" dt="2020-11-23T07:51:33.870" v="27"/>
        <pc:sldMkLst>
          <pc:docMk/>
          <pc:sldMk cId="2816545536" sldId="4515"/>
        </pc:sldMkLst>
      </pc:sldChg>
      <pc:sldChg chg="del">
        <pc:chgData name="Zenos Zenica" userId="de3ee720dba36952" providerId="Windows Live" clId="Web-{48E4E262-EF5E-4DCC-8585-C7C293F726C4}" dt="2020-11-23T07:51:33.870" v="28"/>
        <pc:sldMkLst>
          <pc:docMk/>
          <pc:sldMk cId="3398099825" sldId="4516"/>
        </pc:sldMkLst>
      </pc:sldChg>
      <pc:sldChg chg="del">
        <pc:chgData name="Zenos Zenica" userId="de3ee720dba36952" providerId="Windows Live" clId="Web-{48E4E262-EF5E-4DCC-8585-C7C293F726C4}" dt="2020-11-23T07:51:34.995" v="30"/>
        <pc:sldMkLst>
          <pc:docMk/>
          <pc:sldMk cId="1078092694" sldId="4517"/>
        </pc:sldMkLst>
      </pc:sldChg>
      <pc:sldChg chg="new del">
        <pc:chgData name="Zenos Zenica" userId="de3ee720dba36952" providerId="Windows Live" clId="Web-{48E4E262-EF5E-4DCC-8585-C7C293F726C4}" dt="2020-11-23T07:51:11.057" v="4"/>
        <pc:sldMkLst>
          <pc:docMk/>
          <pc:sldMk cId="2096003915" sldId="4518"/>
        </pc:sldMkLst>
      </pc:sldChg>
      <pc:sldChg chg="add del">
        <pc:chgData name="Zenos Zenica" userId="de3ee720dba36952" providerId="Windows Live" clId="Web-{48E4E262-EF5E-4DCC-8585-C7C293F726C4}" dt="2020-11-23T07:51:05.838" v="2"/>
        <pc:sldMkLst>
          <pc:docMk/>
          <pc:sldMk cId="1306023396" sldId="4519"/>
        </pc:sldMkLst>
      </pc:sldChg>
    </pc:docChg>
  </pc:docChgLst>
  <pc:docChgLst>
    <pc:chgData name="Zenos Zenica" userId="de3ee720dba36952" providerId="Windows Live" clId="Web-{87EC33F8-20F9-4A9B-8B0C-47C86D280FAD}"/>
    <pc:docChg chg="addSld delSld modSld sldOrd addMainMaster modMainMaster">
      <pc:chgData name="Zenos Zenica" userId="de3ee720dba36952" providerId="Windows Live" clId="Web-{87EC33F8-20F9-4A9B-8B0C-47C86D280FAD}" dt="2020-11-23T14:05:59.955" v="3619" actId="20577"/>
      <pc:docMkLst>
        <pc:docMk/>
      </pc:docMkLst>
      <pc:sldChg chg="ord">
        <pc:chgData name="Zenos Zenica" userId="de3ee720dba36952" providerId="Windows Live" clId="Web-{87EC33F8-20F9-4A9B-8B0C-47C86D280FAD}" dt="2020-11-23T11:55:21.349" v="1558"/>
        <pc:sldMkLst>
          <pc:docMk/>
          <pc:sldMk cId="433366519" sldId="309"/>
        </pc:sldMkLst>
      </pc:sldChg>
      <pc:sldChg chg="add">
        <pc:chgData name="Zenos Zenica" userId="de3ee720dba36952" providerId="Windows Live" clId="Web-{87EC33F8-20F9-4A9B-8B0C-47C86D280FAD}" dt="2020-11-23T07:54:35.444" v="0"/>
        <pc:sldMkLst>
          <pc:docMk/>
          <pc:sldMk cId="2085650178" sldId="318"/>
        </pc:sldMkLst>
      </pc:sldChg>
      <pc:sldChg chg="modSp add">
        <pc:chgData name="Zenos Zenica" userId="de3ee720dba36952" providerId="Windows Live" clId="Web-{87EC33F8-20F9-4A9B-8B0C-47C86D280FAD}" dt="2020-11-23T08:13:33.061" v="52" actId="14100"/>
        <pc:sldMkLst>
          <pc:docMk/>
          <pc:sldMk cId="1179086298" sldId="319"/>
        </pc:sldMkLst>
        <pc:spChg chg="mod">
          <ac:chgData name="Zenos Zenica" userId="de3ee720dba36952" providerId="Windows Live" clId="Web-{87EC33F8-20F9-4A9B-8B0C-47C86D280FAD}" dt="2020-11-23T08:13:33.061" v="52" actId="14100"/>
          <ac:spMkLst>
            <pc:docMk/>
            <pc:sldMk cId="1179086298" sldId="319"/>
            <ac:spMk id="4" creationId="{B8CB9108-1583-4A1C-846B-3263D00D0833}"/>
          </ac:spMkLst>
        </pc:spChg>
        <pc:spChg chg="mod">
          <ac:chgData name="Zenos Zenica" userId="de3ee720dba36952" providerId="Windows Live" clId="Web-{87EC33F8-20F9-4A9B-8B0C-47C86D280FAD}" dt="2020-11-23T08:10:44.290" v="42"/>
          <ac:spMkLst>
            <pc:docMk/>
            <pc:sldMk cId="1179086298" sldId="319"/>
            <ac:spMk id="5" creationId="{58C77183-A2D9-4AB8-A3EA-BC130DF4F729}"/>
          </ac:spMkLst>
        </pc:spChg>
        <pc:spChg chg="mod">
          <ac:chgData name="Zenos Zenica" userId="de3ee720dba36952" providerId="Windows Live" clId="Web-{87EC33F8-20F9-4A9B-8B0C-47C86D280FAD}" dt="2020-11-23T08:10:44.290" v="43"/>
          <ac:spMkLst>
            <pc:docMk/>
            <pc:sldMk cId="1179086298" sldId="319"/>
            <ac:spMk id="6" creationId="{A20C0991-9A79-428E-ADBF-270B86B87DE6}"/>
          </ac:spMkLst>
        </pc:spChg>
        <pc:spChg chg="mod">
          <ac:chgData name="Zenos Zenica" userId="de3ee720dba36952" providerId="Windows Live" clId="Web-{87EC33F8-20F9-4A9B-8B0C-47C86D280FAD}" dt="2020-11-23T08:11:34.870" v="45" actId="20577"/>
          <ac:spMkLst>
            <pc:docMk/>
            <pc:sldMk cId="1179086298" sldId="319"/>
            <ac:spMk id="33" creationId="{965A91BA-91A2-46A0-B05A-43FD364371D9}"/>
          </ac:spMkLst>
        </pc:spChg>
        <pc:spChg chg="mod">
          <ac:chgData name="Zenos Zenica" userId="de3ee720dba36952" providerId="Windows Live" clId="Web-{87EC33F8-20F9-4A9B-8B0C-47C86D280FAD}" dt="2020-11-23T08:11:04.041" v="44"/>
          <ac:spMkLst>
            <pc:docMk/>
            <pc:sldMk cId="1179086298" sldId="319"/>
            <ac:spMk id="61" creationId="{BA6CD509-1097-470E-8B93-628628669957}"/>
          </ac:spMkLst>
        </pc:spChg>
      </pc:sldChg>
      <pc:sldChg chg="add del">
        <pc:chgData name="Zenos Zenica" userId="de3ee720dba36952" providerId="Windows Live" clId="Web-{87EC33F8-20F9-4A9B-8B0C-47C86D280FAD}" dt="2020-11-23T07:59:36.908" v="3"/>
        <pc:sldMkLst>
          <pc:docMk/>
          <pc:sldMk cId="1828529939" sldId="320"/>
        </pc:sldMkLst>
      </pc:sldChg>
      <pc:sldChg chg="modSp add ord">
        <pc:chgData name="Zenos Zenica" userId="de3ee720dba36952" providerId="Windows Live" clId="Web-{87EC33F8-20F9-4A9B-8B0C-47C86D280FAD}" dt="2020-11-23T08:15:50.863" v="84" actId="20577"/>
        <pc:sldMkLst>
          <pc:docMk/>
          <pc:sldMk cId="2931861540" sldId="320"/>
        </pc:sldMkLst>
        <pc:spChg chg="mod">
          <ac:chgData name="Zenos Zenica" userId="de3ee720dba36952" providerId="Windows Live" clId="Web-{87EC33F8-20F9-4A9B-8B0C-47C86D280FAD}" dt="2020-11-23T08:14:55.689" v="73" actId="20577"/>
          <ac:spMkLst>
            <pc:docMk/>
            <pc:sldMk cId="2931861540" sldId="320"/>
            <ac:spMk id="4" creationId="{B8CB9108-1583-4A1C-846B-3263D00D0833}"/>
          </ac:spMkLst>
        </pc:spChg>
        <pc:spChg chg="mod">
          <ac:chgData name="Zenos Zenica" userId="de3ee720dba36952" providerId="Windows Live" clId="Web-{87EC33F8-20F9-4A9B-8B0C-47C86D280FAD}" dt="2020-11-23T08:15:05.440" v="77"/>
          <ac:spMkLst>
            <pc:docMk/>
            <pc:sldMk cId="2931861540" sldId="320"/>
            <ac:spMk id="5" creationId="{58C77183-A2D9-4AB8-A3EA-BC130DF4F729}"/>
          </ac:spMkLst>
        </pc:spChg>
        <pc:spChg chg="mod">
          <ac:chgData name="Zenos Zenica" userId="de3ee720dba36952" providerId="Windows Live" clId="Web-{87EC33F8-20F9-4A9B-8B0C-47C86D280FAD}" dt="2020-11-23T08:15:05.455" v="78"/>
          <ac:spMkLst>
            <pc:docMk/>
            <pc:sldMk cId="2931861540" sldId="320"/>
            <ac:spMk id="12" creationId="{9160F301-36F6-478C-ABB0-548F09720128}"/>
          </ac:spMkLst>
        </pc:spChg>
        <pc:spChg chg="mod">
          <ac:chgData name="Zenos Zenica" userId="de3ee720dba36952" providerId="Windows Live" clId="Web-{87EC33F8-20F9-4A9B-8B0C-47C86D280FAD}" dt="2020-11-23T08:15:50.863" v="84" actId="20577"/>
          <ac:spMkLst>
            <pc:docMk/>
            <pc:sldMk cId="2931861540" sldId="320"/>
            <ac:spMk id="33" creationId="{965A91BA-91A2-46A0-B05A-43FD364371D9}"/>
          </ac:spMkLst>
        </pc:spChg>
        <pc:spChg chg="mod">
          <ac:chgData name="Zenos Zenica" userId="de3ee720dba36952" providerId="Windows Live" clId="Web-{87EC33F8-20F9-4A9B-8B0C-47C86D280FAD}" dt="2020-11-23T08:15:05.424" v="76"/>
          <ac:spMkLst>
            <pc:docMk/>
            <pc:sldMk cId="2931861540" sldId="320"/>
            <ac:spMk id="61" creationId="{BA6CD509-1097-470E-8B93-628628669957}"/>
          </ac:spMkLst>
        </pc:spChg>
      </pc:sldChg>
      <pc:sldChg chg="modSp add">
        <pc:chgData name="Zenos Zenica" userId="de3ee720dba36952" providerId="Windows Live" clId="Web-{87EC33F8-20F9-4A9B-8B0C-47C86D280FAD}" dt="2020-11-23T09:05:20.289" v="102"/>
        <pc:sldMkLst>
          <pc:docMk/>
          <pc:sldMk cId="2685984725" sldId="321"/>
        </pc:sldMkLst>
        <pc:spChg chg="mod">
          <ac:chgData name="Zenos Zenica" userId="de3ee720dba36952" providerId="Windows Live" clId="Web-{87EC33F8-20F9-4A9B-8B0C-47C86D280FAD}" dt="2020-11-23T08:16:23.552" v="98" actId="20577"/>
          <ac:spMkLst>
            <pc:docMk/>
            <pc:sldMk cId="2685984725" sldId="321"/>
            <ac:spMk id="4" creationId="{B8CB9108-1583-4A1C-846B-3263D00D0833}"/>
          </ac:spMkLst>
        </pc:spChg>
        <pc:spChg chg="mod">
          <ac:chgData name="Zenos Zenica" userId="de3ee720dba36952" providerId="Windows Live" clId="Web-{87EC33F8-20F9-4A9B-8B0C-47C86D280FAD}" dt="2020-11-23T09:05:20.274" v="101"/>
          <ac:spMkLst>
            <pc:docMk/>
            <pc:sldMk cId="2685984725" sldId="321"/>
            <ac:spMk id="5" creationId="{58C77183-A2D9-4AB8-A3EA-BC130DF4F729}"/>
          </ac:spMkLst>
        </pc:spChg>
        <pc:spChg chg="mod">
          <ac:chgData name="Zenos Zenica" userId="de3ee720dba36952" providerId="Windows Live" clId="Web-{87EC33F8-20F9-4A9B-8B0C-47C86D280FAD}" dt="2020-11-23T09:04:05.381" v="99"/>
          <ac:spMkLst>
            <pc:docMk/>
            <pc:sldMk cId="2685984725" sldId="321"/>
            <ac:spMk id="13" creationId="{39210B4B-CAF6-4E86-8239-5405095CD342}"/>
          </ac:spMkLst>
        </pc:spChg>
        <pc:spChg chg="mod">
          <ac:chgData name="Zenos Zenica" userId="de3ee720dba36952" providerId="Windows Live" clId="Web-{87EC33F8-20F9-4A9B-8B0C-47C86D280FAD}" dt="2020-11-23T09:05:20.289" v="102"/>
          <ac:spMkLst>
            <pc:docMk/>
            <pc:sldMk cId="2685984725" sldId="321"/>
            <ac:spMk id="33" creationId="{965A91BA-91A2-46A0-B05A-43FD364371D9}"/>
          </ac:spMkLst>
        </pc:spChg>
        <pc:spChg chg="mod">
          <ac:chgData name="Zenos Zenica" userId="de3ee720dba36952" providerId="Windows Live" clId="Web-{87EC33F8-20F9-4A9B-8B0C-47C86D280FAD}" dt="2020-11-23T09:05:20.258" v="100"/>
          <ac:spMkLst>
            <pc:docMk/>
            <pc:sldMk cId="2685984725" sldId="321"/>
            <ac:spMk id="61" creationId="{BA6CD509-1097-470E-8B93-628628669957}"/>
          </ac:spMkLst>
        </pc:spChg>
      </pc:sldChg>
      <pc:sldChg chg="modSp add">
        <pc:chgData name="Zenos Zenica" userId="de3ee720dba36952" providerId="Windows Live" clId="Web-{87EC33F8-20F9-4A9B-8B0C-47C86D280FAD}" dt="2020-11-23T09:06:50.245" v="122" actId="20577"/>
        <pc:sldMkLst>
          <pc:docMk/>
          <pc:sldMk cId="26983141" sldId="322"/>
        </pc:sldMkLst>
        <pc:spChg chg="mod">
          <ac:chgData name="Zenos Zenica" userId="de3ee720dba36952" providerId="Windows Live" clId="Web-{87EC33F8-20F9-4A9B-8B0C-47C86D280FAD}" dt="2020-11-23T09:06:50.245" v="122" actId="20577"/>
          <ac:spMkLst>
            <pc:docMk/>
            <pc:sldMk cId="26983141" sldId="322"/>
            <ac:spMk id="4" creationId="{B8CB9108-1583-4A1C-846B-3263D00D0833}"/>
          </ac:spMkLst>
        </pc:spChg>
        <pc:spChg chg="mod">
          <ac:chgData name="Zenos Zenica" userId="de3ee720dba36952" providerId="Windows Live" clId="Web-{87EC33F8-20F9-4A9B-8B0C-47C86D280FAD}" dt="2020-11-23T09:05:36.540" v="103"/>
          <ac:spMkLst>
            <pc:docMk/>
            <pc:sldMk cId="26983141" sldId="322"/>
            <ac:spMk id="5" creationId="{58C77183-A2D9-4AB8-A3EA-BC130DF4F729}"/>
          </ac:spMkLst>
        </pc:spChg>
        <pc:spChg chg="mod">
          <ac:chgData name="Zenos Zenica" userId="de3ee720dba36952" providerId="Windows Live" clId="Web-{87EC33F8-20F9-4A9B-8B0C-47C86D280FAD}" dt="2020-11-23T09:05:36.555" v="104"/>
          <ac:spMkLst>
            <pc:docMk/>
            <pc:sldMk cId="26983141" sldId="322"/>
            <ac:spMk id="12" creationId="{94900445-C24F-4DB3-9F60-AC03B625799C}"/>
          </ac:spMkLst>
        </pc:spChg>
      </pc:sldChg>
      <pc:sldChg chg="modSp add">
        <pc:chgData name="Zenos Zenica" userId="de3ee720dba36952" providerId="Windows Live" clId="Web-{87EC33F8-20F9-4A9B-8B0C-47C86D280FAD}" dt="2020-11-23T09:08:57.514" v="142" actId="1076"/>
        <pc:sldMkLst>
          <pc:docMk/>
          <pc:sldMk cId="2194091338" sldId="323"/>
        </pc:sldMkLst>
        <pc:spChg chg="mod">
          <ac:chgData name="Zenos Zenica" userId="de3ee720dba36952" providerId="Windows Live" clId="Web-{87EC33F8-20F9-4A9B-8B0C-47C86D280FAD}" dt="2020-11-23T09:08:47.326" v="140" actId="20577"/>
          <ac:spMkLst>
            <pc:docMk/>
            <pc:sldMk cId="2194091338" sldId="323"/>
            <ac:spMk id="4" creationId="{B8CB9108-1583-4A1C-846B-3263D00D0833}"/>
          </ac:spMkLst>
        </pc:spChg>
        <pc:graphicFrameChg chg="mod modGraphic">
          <ac:chgData name="Zenos Zenica" userId="de3ee720dba36952" providerId="Windows Live" clId="Web-{87EC33F8-20F9-4A9B-8B0C-47C86D280FAD}" dt="2020-11-23T09:08:57.514" v="142" actId="1076"/>
          <ac:graphicFrameMkLst>
            <pc:docMk/>
            <pc:sldMk cId="2194091338" sldId="323"/>
            <ac:graphicFrameMk id="9" creationId="{4084F88F-310F-4939-89AE-ABB1BEA6E22B}"/>
          </ac:graphicFrameMkLst>
        </pc:graphicFrameChg>
      </pc:sldChg>
      <pc:sldChg chg="modSp add">
        <pc:chgData name="Zenos Zenica" userId="de3ee720dba36952" providerId="Windows Live" clId="Web-{87EC33F8-20F9-4A9B-8B0C-47C86D280FAD}" dt="2020-11-23T10:27:03.383" v="990" actId="1076"/>
        <pc:sldMkLst>
          <pc:docMk/>
          <pc:sldMk cId="2254485972" sldId="324"/>
        </pc:sldMkLst>
        <pc:spChg chg="mod">
          <ac:chgData name="Zenos Zenica" userId="de3ee720dba36952" providerId="Windows Live" clId="Web-{87EC33F8-20F9-4A9B-8B0C-47C86D280FAD}" dt="2020-11-23T09:20:11.065" v="235" actId="20577"/>
          <ac:spMkLst>
            <pc:docMk/>
            <pc:sldMk cId="2254485972" sldId="324"/>
            <ac:spMk id="4" creationId="{B8CB9108-1583-4A1C-846B-3263D00D0833}"/>
          </ac:spMkLst>
        </pc:spChg>
        <pc:spChg chg="mod">
          <ac:chgData name="Zenos Zenica" userId="de3ee720dba36952" providerId="Windows Live" clId="Web-{87EC33F8-20F9-4A9B-8B0C-47C86D280FAD}" dt="2020-11-23T09:19:32.939" v="197" actId="1076"/>
          <ac:spMkLst>
            <pc:docMk/>
            <pc:sldMk cId="2254485972" sldId="324"/>
            <ac:spMk id="7" creationId="{10A60327-7D96-495F-8512-39994C311CB4}"/>
          </ac:spMkLst>
        </pc:spChg>
        <pc:spChg chg="mod">
          <ac:chgData name="Zenos Zenica" userId="de3ee720dba36952" providerId="Windows Live" clId="Web-{87EC33F8-20F9-4A9B-8B0C-47C86D280FAD}" dt="2020-11-23T09:19:32.954" v="198" actId="1076"/>
          <ac:spMkLst>
            <pc:docMk/>
            <pc:sldMk cId="2254485972" sldId="324"/>
            <ac:spMk id="8" creationId="{999339FF-8EB8-44FF-B960-45799EDF7C5A}"/>
          </ac:spMkLst>
        </pc:spChg>
        <pc:spChg chg="mod">
          <ac:chgData name="Zenos Zenica" userId="de3ee720dba36952" providerId="Windows Live" clId="Web-{87EC33F8-20F9-4A9B-8B0C-47C86D280FAD}" dt="2020-11-23T09:19:32.970" v="199" actId="1076"/>
          <ac:spMkLst>
            <pc:docMk/>
            <pc:sldMk cId="2254485972" sldId="324"/>
            <ac:spMk id="10" creationId="{32740010-B222-43C7-B252-DA109FFD2499}"/>
          </ac:spMkLst>
        </pc:spChg>
        <pc:spChg chg="mod">
          <ac:chgData name="Zenos Zenica" userId="de3ee720dba36952" providerId="Windows Live" clId="Web-{87EC33F8-20F9-4A9B-8B0C-47C86D280FAD}" dt="2020-11-23T10:27:03.383" v="990" actId="1076"/>
          <ac:spMkLst>
            <pc:docMk/>
            <pc:sldMk cId="2254485972" sldId="324"/>
            <ac:spMk id="11" creationId="{24FE2CA3-F0D2-4096-8B89-DA2879EA50FF}"/>
          </ac:spMkLst>
        </pc:spChg>
        <pc:spChg chg="mod">
          <ac:chgData name="Zenos Zenica" userId="de3ee720dba36952" providerId="Windows Live" clId="Web-{87EC33F8-20F9-4A9B-8B0C-47C86D280FAD}" dt="2020-11-23T09:19:33.001" v="201" actId="1076"/>
          <ac:spMkLst>
            <pc:docMk/>
            <pc:sldMk cId="2254485972" sldId="324"/>
            <ac:spMk id="12" creationId="{063DE694-D917-41AA-9416-2B9195B97796}"/>
          </ac:spMkLst>
        </pc:spChg>
        <pc:spChg chg="mod">
          <ac:chgData name="Zenos Zenica" userId="de3ee720dba36952" providerId="Windows Live" clId="Web-{87EC33F8-20F9-4A9B-8B0C-47C86D280FAD}" dt="2020-11-23T09:20:26.846" v="239" actId="20577"/>
          <ac:spMkLst>
            <pc:docMk/>
            <pc:sldMk cId="2254485972" sldId="324"/>
            <ac:spMk id="13" creationId="{AB10EE70-B55F-43A1-BEDD-FDBA032F708C}"/>
          </ac:spMkLst>
        </pc:spChg>
        <pc:spChg chg="mod">
          <ac:chgData name="Zenos Zenica" userId="de3ee720dba36952" providerId="Windows Live" clId="Web-{87EC33F8-20F9-4A9B-8B0C-47C86D280FAD}" dt="2020-11-23T09:19:33.032" v="203" actId="1076"/>
          <ac:spMkLst>
            <pc:docMk/>
            <pc:sldMk cId="2254485972" sldId="324"/>
            <ac:spMk id="14" creationId="{F80E4697-CB9F-4AB0-902E-3D174455F0DE}"/>
          </ac:spMkLst>
        </pc:spChg>
        <pc:spChg chg="mod">
          <ac:chgData name="Zenos Zenica" userId="de3ee720dba36952" providerId="Windows Live" clId="Web-{87EC33F8-20F9-4A9B-8B0C-47C86D280FAD}" dt="2020-11-23T09:19:33.032" v="204" actId="1076"/>
          <ac:spMkLst>
            <pc:docMk/>
            <pc:sldMk cId="2254485972" sldId="324"/>
            <ac:spMk id="15" creationId="{49494F74-65AD-48D4-81B4-AD9B6A52F0C8}"/>
          </ac:spMkLst>
        </pc:spChg>
        <pc:spChg chg="mod">
          <ac:chgData name="Zenos Zenica" userId="de3ee720dba36952" providerId="Windows Live" clId="Web-{87EC33F8-20F9-4A9B-8B0C-47C86D280FAD}" dt="2020-11-23T09:19:33.048" v="205" actId="1076"/>
          <ac:spMkLst>
            <pc:docMk/>
            <pc:sldMk cId="2254485972" sldId="324"/>
            <ac:spMk id="16" creationId="{39BF6772-0A33-4A89-A8AC-0C867B8FD1E1}"/>
          </ac:spMkLst>
        </pc:spChg>
        <pc:spChg chg="mod">
          <ac:chgData name="Zenos Zenica" userId="de3ee720dba36952" providerId="Windows Live" clId="Web-{87EC33F8-20F9-4A9B-8B0C-47C86D280FAD}" dt="2020-11-23T09:21:49.130" v="254" actId="20577"/>
          <ac:spMkLst>
            <pc:docMk/>
            <pc:sldMk cId="2254485972" sldId="324"/>
            <ac:spMk id="17" creationId="{3B7337CA-FE2D-467B-A8AD-81B8BC6A4816}"/>
          </ac:spMkLst>
        </pc:spChg>
        <pc:spChg chg="mod">
          <ac:chgData name="Zenos Zenica" userId="de3ee720dba36952" providerId="Windows Live" clId="Web-{87EC33F8-20F9-4A9B-8B0C-47C86D280FAD}" dt="2020-11-23T09:19:33.079" v="207" actId="1076"/>
          <ac:spMkLst>
            <pc:docMk/>
            <pc:sldMk cId="2254485972" sldId="324"/>
            <ac:spMk id="18" creationId="{BEB4029C-F692-4996-B015-D82C01BA231E}"/>
          </ac:spMkLst>
        </pc:spChg>
        <pc:spChg chg="mod">
          <ac:chgData name="Zenos Zenica" userId="de3ee720dba36952" providerId="Windows Live" clId="Web-{87EC33F8-20F9-4A9B-8B0C-47C86D280FAD}" dt="2020-11-23T09:20:33.784" v="242" actId="20577"/>
          <ac:spMkLst>
            <pc:docMk/>
            <pc:sldMk cId="2254485972" sldId="324"/>
            <ac:spMk id="19" creationId="{5395CE55-7837-4FE4-93F3-E67DC912226D}"/>
          </ac:spMkLst>
        </pc:spChg>
        <pc:spChg chg="mod">
          <ac:chgData name="Zenos Zenica" userId="de3ee720dba36952" providerId="Windows Live" clId="Web-{87EC33F8-20F9-4A9B-8B0C-47C86D280FAD}" dt="2020-11-23T09:19:33.111" v="209" actId="1076"/>
          <ac:spMkLst>
            <pc:docMk/>
            <pc:sldMk cId="2254485972" sldId="324"/>
            <ac:spMk id="20" creationId="{30604E6C-1FF4-4246-B35C-B15AE420B1AB}"/>
          </ac:spMkLst>
        </pc:spChg>
        <pc:spChg chg="mod">
          <ac:chgData name="Zenos Zenica" userId="de3ee720dba36952" providerId="Windows Live" clId="Web-{87EC33F8-20F9-4A9B-8B0C-47C86D280FAD}" dt="2020-11-23T09:19:33.111" v="210" actId="1076"/>
          <ac:spMkLst>
            <pc:docMk/>
            <pc:sldMk cId="2254485972" sldId="324"/>
            <ac:spMk id="21" creationId="{0C488950-EF86-4F53-9575-F5C2F764F182}"/>
          </ac:spMkLst>
        </pc:spChg>
        <pc:spChg chg="mod">
          <ac:chgData name="Zenos Zenica" userId="de3ee720dba36952" providerId="Windows Live" clId="Web-{87EC33F8-20F9-4A9B-8B0C-47C86D280FAD}" dt="2020-11-23T09:19:33.126" v="211" actId="1076"/>
          <ac:spMkLst>
            <pc:docMk/>
            <pc:sldMk cId="2254485972" sldId="324"/>
            <ac:spMk id="22" creationId="{EF749FCF-1022-451D-A247-DA3DBFF70986}"/>
          </ac:spMkLst>
        </pc:spChg>
        <pc:spChg chg="mod">
          <ac:chgData name="Zenos Zenica" userId="de3ee720dba36952" providerId="Windows Live" clId="Web-{87EC33F8-20F9-4A9B-8B0C-47C86D280FAD}" dt="2020-11-23T09:21:32.239" v="249" actId="1076"/>
          <ac:spMkLst>
            <pc:docMk/>
            <pc:sldMk cId="2254485972" sldId="324"/>
            <ac:spMk id="23" creationId="{CE0950E1-18B8-4FC8-B404-314FCDD775AD}"/>
          </ac:spMkLst>
        </pc:spChg>
        <pc:spChg chg="mod">
          <ac:chgData name="Zenos Zenica" userId="de3ee720dba36952" providerId="Windows Live" clId="Web-{87EC33F8-20F9-4A9B-8B0C-47C86D280FAD}" dt="2020-11-23T09:19:33.157" v="213" actId="1076"/>
          <ac:spMkLst>
            <pc:docMk/>
            <pc:sldMk cId="2254485972" sldId="324"/>
            <ac:spMk id="24" creationId="{5469B736-DF39-4D11-A744-23E93CB730DF}"/>
          </ac:spMkLst>
        </pc:spChg>
        <pc:spChg chg="mod">
          <ac:chgData name="Zenos Zenica" userId="de3ee720dba36952" providerId="Windows Live" clId="Web-{87EC33F8-20F9-4A9B-8B0C-47C86D280FAD}" dt="2020-11-23T09:19:33.173" v="214" actId="1076"/>
          <ac:spMkLst>
            <pc:docMk/>
            <pc:sldMk cId="2254485972" sldId="324"/>
            <ac:spMk id="25" creationId="{3EC296D2-01F5-4282-8CB3-C8A4BD9A3A17}"/>
          </ac:spMkLst>
        </pc:spChg>
        <pc:spChg chg="mod">
          <ac:chgData name="Zenos Zenica" userId="de3ee720dba36952" providerId="Windows Live" clId="Web-{87EC33F8-20F9-4A9B-8B0C-47C86D280FAD}" dt="2020-11-23T09:19:32.939" v="196" actId="1076"/>
          <ac:spMkLst>
            <pc:docMk/>
            <pc:sldMk cId="2254485972" sldId="324"/>
            <ac:spMk id="31" creationId="{76B1E94E-634D-44F0-8634-92AAFEC14166}"/>
          </ac:spMkLst>
        </pc:spChg>
      </pc:sldChg>
      <pc:sldChg chg="add del">
        <pc:chgData name="Zenos Zenica" userId="de3ee720dba36952" providerId="Windows Live" clId="Web-{87EC33F8-20F9-4A9B-8B0C-47C86D280FAD}" dt="2020-11-23T08:03:44.580" v="11"/>
        <pc:sldMkLst>
          <pc:docMk/>
          <pc:sldMk cId="352265661" sldId="325"/>
        </pc:sldMkLst>
      </pc:sldChg>
      <pc:sldChg chg="modSp add">
        <pc:chgData name="Zenos Zenica" userId="de3ee720dba36952" providerId="Windows Live" clId="Web-{87EC33F8-20F9-4A9B-8B0C-47C86D280FAD}" dt="2020-11-23T09:23:16.461" v="277" actId="1076"/>
        <pc:sldMkLst>
          <pc:docMk/>
          <pc:sldMk cId="523023032" sldId="325"/>
        </pc:sldMkLst>
        <pc:spChg chg="mod">
          <ac:chgData name="Zenos Zenica" userId="de3ee720dba36952" providerId="Windows Live" clId="Web-{87EC33F8-20F9-4A9B-8B0C-47C86D280FAD}" dt="2020-11-23T09:23:16.461" v="277" actId="1076"/>
          <ac:spMkLst>
            <pc:docMk/>
            <pc:sldMk cId="523023032" sldId="325"/>
            <ac:spMk id="4" creationId="{B8CB9108-1583-4A1C-846B-3263D00D0833}"/>
          </ac:spMkLst>
        </pc:spChg>
        <pc:spChg chg="mod">
          <ac:chgData name="Zenos Zenica" userId="de3ee720dba36952" providerId="Windows Live" clId="Web-{87EC33F8-20F9-4A9B-8B0C-47C86D280FAD}" dt="2020-11-23T09:22:04.427" v="256" actId="1076"/>
          <ac:spMkLst>
            <pc:docMk/>
            <pc:sldMk cId="523023032" sldId="325"/>
            <ac:spMk id="31" creationId="{76B1E94E-634D-44F0-8634-92AAFEC14166}"/>
          </ac:spMkLst>
        </pc:spChg>
        <pc:graphicFrameChg chg="mod">
          <ac:chgData name="Zenos Zenica" userId="de3ee720dba36952" providerId="Windows Live" clId="Web-{87EC33F8-20F9-4A9B-8B0C-47C86D280FAD}" dt="2020-11-23T09:22:04.490" v="257" actId="1076"/>
          <ac:graphicFrameMkLst>
            <pc:docMk/>
            <pc:sldMk cId="523023032" sldId="325"/>
            <ac:graphicFrameMk id="9" creationId="{4084F88F-310F-4939-89AE-ABB1BEA6E22B}"/>
          </ac:graphicFrameMkLst>
        </pc:graphicFrameChg>
      </pc:sldChg>
      <pc:sldChg chg="modSp add">
        <pc:chgData name="Zenos Zenica" userId="de3ee720dba36952" providerId="Windows Live" clId="Web-{87EC33F8-20F9-4A9B-8B0C-47C86D280FAD}" dt="2020-11-23T09:23:44.071" v="284" actId="20577"/>
        <pc:sldMkLst>
          <pc:docMk/>
          <pc:sldMk cId="506849899" sldId="326"/>
        </pc:sldMkLst>
        <pc:spChg chg="mod">
          <ac:chgData name="Zenos Zenica" userId="de3ee720dba36952" providerId="Windows Live" clId="Web-{87EC33F8-20F9-4A9B-8B0C-47C86D280FAD}" dt="2020-11-23T09:23:44.071" v="284" actId="20577"/>
          <ac:spMkLst>
            <pc:docMk/>
            <pc:sldMk cId="506849899" sldId="326"/>
            <ac:spMk id="4" creationId="{B8CB9108-1583-4A1C-846B-3263D00D0833}"/>
          </ac:spMkLst>
        </pc:spChg>
      </pc:sldChg>
      <pc:sldChg chg="modSp add">
        <pc:chgData name="Zenos Zenica" userId="de3ee720dba36952" providerId="Windows Live" clId="Web-{87EC33F8-20F9-4A9B-8B0C-47C86D280FAD}" dt="2020-11-23T09:24:29.603" v="297" actId="1076"/>
        <pc:sldMkLst>
          <pc:docMk/>
          <pc:sldMk cId="3469663873" sldId="327"/>
        </pc:sldMkLst>
        <pc:spChg chg="mod">
          <ac:chgData name="Zenos Zenica" userId="de3ee720dba36952" providerId="Windows Live" clId="Web-{87EC33F8-20F9-4A9B-8B0C-47C86D280FAD}" dt="2020-11-23T09:24:29.603" v="297" actId="1076"/>
          <ac:spMkLst>
            <pc:docMk/>
            <pc:sldMk cId="3469663873" sldId="327"/>
            <ac:spMk id="4" creationId="{B8CB9108-1583-4A1C-846B-3263D00D0833}"/>
          </ac:spMkLst>
        </pc:spChg>
      </pc:sldChg>
      <pc:sldChg chg="modSp add">
        <pc:chgData name="Zenos Zenica" userId="de3ee720dba36952" providerId="Windows Live" clId="Web-{87EC33F8-20F9-4A9B-8B0C-47C86D280FAD}" dt="2020-11-23T09:25:04.667" v="310" actId="20577"/>
        <pc:sldMkLst>
          <pc:docMk/>
          <pc:sldMk cId="2308220853" sldId="328"/>
        </pc:sldMkLst>
        <pc:spChg chg="mod">
          <ac:chgData name="Zenos Zenica" userId="de3ee720dba36952" providerId="Windows Live" clId="Web-{87EC33F8-20F9-4A9B-8B0C-47C86D280FAD}" dt="2020-11-23T09:25:04.667" v="310" actId="20577"/>
          <ac:spMkLst>
            <pc:docMk/>
            <pc:sldMk cId="2308220853" sldId="328"/>
            <ac:spMk id="4" creationId="{B8CB9108-1583-4A1C-846B-3263D00D0833}"/>
          </ac:spMkLst>
        </pc:spChg>
      </pc:sldChg>
      <pc:sldChg chg="modSp add">
        <pc:chgData name="Zenos Zenica" userId="de3ee720dba36952" providerId="Windows Live" clId="Web-{87EC33F8-20F9-4A9B-8B0C-47C86D280FAD}" dt="2020-11-23T09:26:27.669" v="327" actId="1076"/>
        <pc:sldMkLst>
          <pc:docMk/>
          <pc:sldMk cId="1558340480" sldId="329"/>
        </pc:sldMkLst>
        <pc:spChg chg="mod">
          <ac:chgData name="Zenos Zenica" userId="de3ee720dba36952" providerId="Windows Live" clId="Web-{87EC33F8-20F9-4A9B-8B0C-47C86D280FAD}" dt="2020-11-23T09:26:27.669" v="327" actId="1076"/>
          <ac:spMkLst>
            <pc:docMk/>
            <pc:sldMk cId="1558340480" sldId="329"/>
            <ac:spMk id="4" creationId="{B8CB9108-1583-4A1C-846B-3263D00D0833}"/>
          </ac:spMkLst>
        </pc:spChg>
        <pc:spChg chg="mod">
          <ac:chgData name="Zenos Zenica" userId="de3ee720dba36952" providerId="Windows Live" clId="Web-{87EC33F8-20F9-4A9B-8B0C-47C86D280FAD}" dt="2020-11-23T09:25:29.745" v="317" actId="1076"/>
          <ac:spMkLst>
            <pc:docMk/>
            <pc:sldMk cId="1558340480" sldId="329"/>
            <ac:spMk id="31" creationId="{76B1E94E-634D-44F0-8634-92AAFEC14166}"/>
          </ac:spMkLst>
        </pc:spChg>
        <pc:graphicFrameChg chg="mod">
          <ac:chgData name="Zenos Zenica" userId="de3ee720dba36952" providerId="Windows Live" clId="Web-{87EC33F8-20F9-4A9B-8B0C-47C86D280FAD}" dt="2020-11-23T09:25:29.808" v="318" actId="1076"/>
          <ac:graphicFrameMkLst>
            <pc:docMk/>
            <pc:sldMk cId="1558340480" sldId="329"/>
            <ac:graphicFrameMk id="9" creationId="{4084F88F-310F-4939-89AE-ABB1BEA6E22B}"/>
          </ac:graphicFrameMkLst>
        </pc:graphicFrameChg>
      </pc:sldChg>
      <pc:sldChg chg="modSp add">
        <pc:chgData name="Zenos Zenica" userId="de3ee720dba36952" providerId="Windows Live" clId="Web-{87EC33F8-20F9-4A9B-8B0C-47C86D280FAD}" dt="2020-11-23T10:27:22.196" v="1002" actId="1076"/>
        <pc:sldMkLst>
          <pc:docMk/>
          <pc:sldMk cId="1086466466" sldId="330"/>
        </pc:sldMkLst>
        <pc:spChg chg="mod">
          <ac:chgData name="Zenos Zenica" userId="de3ee720dba36952" providerId="Windows Live" clId="Web-{87EC33F8-20F9-4A9B-8B0C-47C86D280FAD}" dt="2020-11-23T09:27:09.498" v="338" actId="14100"/>
          <ac:spMkLst>
            <pc:docMk/>
            <pc:sldMk cId="1086466466" sldId="330"/>
            <ac:spMk id="4" creationId="{B8CB9108-1583-4A1C-846B-3263D00D0833}"/>
          </ac:spMkLst>
        </pc:spChg>
        <pc:spChg chg="mod">
          <ac:chgData name="Zenos Zenica" userId="de3ee720dba36952" providerId="Windows Live" clId="Web-{87EC33F8-20F9-4A9B-8B0C-47C86D280FAD}" dt="2020-11-23T10:27:22.196" v="1002" actId="1076"/>
          <ac:spMkLst>
            <pc:docMk/>
            <pc:sldMk cId="1086466466" sldId="330"/>
            <ac:spMk id="28" creationId="{0DE3AD2B-9117-4DBA-9198-3C73FFF53E49}"/>
          </ac:spMkLst>
        </pc:spChg>
        <pc:spChg chg="mod">
          <ac:chgData name="Zenos Zenica" userId="de3ee720dba36952" providerId="Windows Live" clId="Web-{87EC33F8-20F9-4A9B-8B0C-47C86D280FAD}" dt="2020-11-23T10:27:03.555" v="997" actId="20577"/>
          <ac:spMkLst>
            <pc:docMk/>
            <pc:sldMk cId="1086466466" sldId="330"/>
            <ac:spMk id="30" creationId="{2C82B87E-962C-4EE5-93AA-C26A29CCA8E9}"/>
          </ac:spMkLst>
        </pc:spChg>
        <pc:spChg chg="mod">
          <ac:chgData name="Zenos Zenica" userId="de3ee720dba36952" providerId="Windows Live" clId="Web-{87EC33F8-20F9-4A9B-8B0C-47C86D280FAD}" dt="2020-11-23T10:27:03.461" v="993" actId="20577"/>
          <ac:spMkLst>
            <pc:docMk/>
            <pc:sldMk cId="1086466466" sldId="330"/>
            <ac:spMk id="33" creationId="{4E47BE71-C20B-4078-BE15-0711F414BD88}"/>
          </ac:spMkLst>
        </pc:spChg>
      </pc:sldChg>
      <pc:sldChg chg="modSp add">
        <pc:chgData name="Zenos Zenica" userId="de3ee720dba36952" providerId="Windows Live" clId="Web-{87EC33F8-20F9-4A9B-8B0C-47C86D280FAD}" dt="2020-11-23T10:27:49.181" v="1010" actId="14100"/>
        <pc:sldMkLst>
          <pc:docMk/>
          <pc:sldMk cId="2788202291" sldId="331"/>
        </pc:sldMkLst>
        <pc:spChg chg="mod">
          <ac:chgData name="Zenos Zenica" userId="de3ee720dba36952" providerId="Windows Live" clId="Web-{87EC33F8-20F9-4A9B-8B0C-47C86D280FAD}" dt="2020-11-23T09:28:22.063" v="363" actId="20577"/>
          <ac:spMkLst>
            <pc:docMk/>
            <pc:sldMk cId="2788202291" sldId="331"/>
            <ac:spMk id="4" creationId="{B8CB9108-1583-4A1C-846B-3263D00D0833}"/>
          </ac:spMkLst>
        </pc:spChg>
        <pc:spChg chg="mod">
          <ac:chgData name="Zenos Zenica" userId="de3ee720dba36952" providerId="Windows Live" clId="Web-{87EC33F8-20F9-4A9B-8B0C-47C86D280FAD}" dt="2020-11-23T10:27:31.196" v="1004" actId="20577"/>
          <ac:spMkLst>
            <pc:docMk/>
            <pc:sldMk cId="2788202291" sldId="331"/>
            <ac:spMk id="123" creationId="{3D655CBB-E809-4EE7-A175-CBFD4507899E}"/>
          </ac:spMkLst>
        </pc:spChg>
        <pc:spChg chg="mod">
          <ac:chgData name="Zenos Zenica" userId="de3ee720dba36952" providerId="Windows Live" clId="Web-{87EC33F8-20F9-4A9B-8B0C-47C86D280FAD}" dt="2020-11-23T10:27:49.181" v="1010" actId="14100"/>
          <ac:spMkLst>
            <pc:docMk/>
            <pc:sldMk cId="2788202291" sldId="331"/>
            <ac:spMk id="125" creationId="{262C86DE-342F-4BDE-8FD0-9AD6359F3184}"/>
          </ac:spMkLst>
        </pc:spChg>
        <pc:spChg chg="mod">
          <ac:chgData name="Zenos Zenica" userId="de3ee720dba36952" providerId="Windows Live" clId="Web-{87EC33F8-20F9-4A9B-8B0C-47C86D280FAD}" dt="2020-11-23T09:28:51.814" v="379" actId="20577"/>
          <ac:spMkLst>
            <pc:docMk/>
            <pc:sldMk cId="2788202291" sldId="331"/>
            <ac:spMk id="128" creationId="{BB11CE60-292A-4FF1-8DC3-1B06FC17E4E7}"/>
          </ac:spMkLst>
        </pc:spChg>
        <pc:spChg chg="mod">
          <ac:chgData name="Zenos Zenica" userId="de3ee720dba36952" providerId="Windows Live" clId="Web-{87EC33F8-20F9-4A9B-8B0C-47C86D280FAD}" dt="2020-11-23T09:28:46.204" v="376" actId="20577"/>
          <ac:spMkLst>
            <pc:docMk/>
            <pc:sldMk cId="2788202291" sldId="331"/>
            <ac:spMk id="129" creationId="{F7A12BFB-4CBB-42C0-AF3D-8C6DECC14714}"/>
          </ac:spMkLst>
        </pc:spChg>
      </pc:sldChg>
      <pc:sldChg chg="modSp add">
        <pc:chgData name="Zenos Zenica" userId="de3ee720dba36952" providerId="Windows Live" clId="Web-{87EC33F8-20F9-4A9B-8B0C-47C86D280FAD}" dt="2020-11-23T10:28:18.150" v="1011" actId="1076"/>
        <pc:sldMkLst>
          <pc:docMk/>
          <pc:sldMk cId="2636251642" sldId="332"/>
        </pc:sldMkLst>
        <pc:spChg chg="mod">
          <ac:chgData name="Zenos Zenica" userId="de3ee720dba36952" providerId="Windows Live" clId="Web-{87EC33F8-20F9-4A9B-8B0C-47C86D280FAD}" dt="2020-11-23T09:31:38.803" v="407" actId="1076"/>
          <ac:spMkLst>
            <pc:docMk/>
            <pc:sldMk cId="2636251642" sldId="332"/>
            <ac:spMk id="4" creationId="{B8CB9108-1583-4A1C-846B-3263D00D0833}"/>
          </ac:spMkLst>
        </pc:spChg>
        <pc:spChg chg="mod">
          <ac:chgData name="Zenos Zenica" userId="de3ee720dba36952" providerId="Windows Live" clId="Web-{87EC33F8-20F9-4A9B-8B0C-47C86D280FAD}" dt="2020-11-23T10:28:18.150" v="1011" actId="1076"/>
          <ac:spMkLst>
            <pc:docMk/>
            <pc:sldMk cId="2636251642" sldId="332"/>
            <ac:spMk id="5" creationId="{EAAAF5E9-9D28-408A-8433-C6C1F2DDB694}"/>
          </ac:spMkLst>
        </pc:spChg>
        <pc:spChg chg="mod">
          <ac:chgData name="Zenos Zenica" userId="de3ee720dba36952" providerId="Windows Live" clId="Web-{87EC33F8-20F9-4A9B-8B0C-47C86D280FAD}" dt="2020-11-23T09:29:59.456" v="390"/>
          <ac:spMkLst>
            <pc:docMk/>
            <pc:sldMk cId="2636251642" sldId="332"/>
            <ac:spMk id="16" creationId="{8B76932D-C135-4443-BF1A-006126A5E79F}"/>
          </ac:spMkLst>
        </pc:spChg>
        <pc:spChg chg="mod">
          <ac:chgData name="Zenos Zenica" userId="de3ee720dba36952" providerId="Windows Live" clId="Web-{87EC33F8-20F9-4A9B-8B0C-47C86D280FAD}" dt="2020-11-23T09:29:59.440" v="389"/>
          <ac:spMkLst>
            <pc:docMk/>
            <pc:sldMk cId="2636251642" sldId="332"/>
            <ac:spMk id="18" creationId="{14640D88-9435-4FAD-80EC-3DCEB5597EF8}"/>
          </ac:spMkLst>
        </pc:spChg>
        <pc:spChg chg="mod">
          <ac:chgData name="Zenos Zenica" userId="de3ee720dba36952" providerId="Windows Live" clId="Web-{87EC33F8-20F9-4A9B-8B0C-47C86D280FAD}" dt="2020-11-23T09:30:33.863" v="394" actId="1076"/>
          <ac:spMkLst>
            <pc:docMk/>
            <pc:sldMk cId="2636251642" sldId="332"/>
            <ac:spMk id="20" creationId="{FAB51C40-F94A-46DE-8632-4C99C0B8BA1F}"/>
          </ac:spMkLst>
        </pc:spChg>
        <pc:spChg chg="mod">
          <ac:chgData name="Zenos Zenica" userId="de3ee720dba36952" providerId="Windows Live" clId="Web-{87EC33F8-20F9-4A9B-8B0C-47C86D280FAD}" dt="2020-11-23T09:30:44.723" v="395" actId="1076"/>
          <ac:spMkLst>
            <pc:docMk/>
            <pc:sldMk cId="2636251642" sldId="332"/>
            <ac:spMk id="22" creationId="{2AF7CB74-E67E-4A0E-B2B1-C0DDF5128C78}"/>
          </ac:spMkLst>
        </pc:spChg>
        <pc:spChg chg="mod">
          <ac:chgData name="Zenos Zenica" userId="de3ee720dba36952" providerId="Windows Live" clId="Web-{87EC33F8-20F9-4A9B-8B0C-47C86D280FAD}" dt="2020-11-23T09:30:50.926" v="396" actId="1076"/>
          <ac:spMkLst>
            <pc:docMk/>
            <pc:sldMk cId="2636251642" sldId="332"/>
            <ac:spMk id="24" creationId="{BCAB0464-046C-44C2-9B02-A34F24F88794}"/>
          </ac:spMkLst>
        </pc:spChg>
        <pc:grpChg chg="mod">
          <ac:chgData name="Zenos Zenica" userId="de3ee720dba36952" providerId="Windows Live" clId="Web-{87EC33F8-20F9-4A9B-8B0C-47C86D280FAD}" dt="2020-11-23T09:30:14.238" v="392" actId="1076"/>
          <ac:grpSpMkLst>
            <pc:docMk/>
            <pc:sldMk cId="2636251642" sldId="332"/>
            <ac:grpSpMk id="6" creationId="{B8A35022-020A-48C5-BE00-CDE4BA786E94}"/>
          </ac:grpSpMkLst>
        </pc:grpChg>
      </pc:sldChg>
      <pc:sldChg chg="add del replId">
        <pc:chgData name="Zenos Zenica" userId="de3ee720dba36952" providerId="Windows Live" clId="Web-{87EC33F8-20F9-4A9B-8B0C-47C86D280FAD}" dt="2020-11-23T08:05:38.763" v="21"/>
        <pc:sldMkLst>
          <pc:docMk/>
          <pc:sldMk cId="1251769725" sldId="333"/>
        </pc:sldMkLst>
      </pc:sldChg>
      <pc:sldChg chg="modSp add ord">
        <pc:chgData name="Zenos Zenica" userId="de3ee720dba36952" providerId="Windows Live" clId="Web-{87EC33F8-20F9-4A9B-8B0C-47C86D280FAD}" dt="2020-11-23T10:52:06.315" v="1149" actId="1076"/>
        <pc:sldMkLst>
          <pc:docMk/>
          <pc:sldMk cId="1594379500" sldId="333"/>
        </pc:sldMkLst>
        <pc:spChg chg="mod">
          <ac:chgData name="Zenos Zenica" userId="de3ee720dba36952" providerId="Windows Live" clId="Web-{87EC33F8-20F9-4A9B-8B0C-47C86D280FAD}" dt="2020-11-23T09:37:20.171" v="454" actId="20577"/>
          <ac:spMkLst>
            <pc:docMk/>
            <pc:sldMk cId="1594379500" sldId="333"/>
            <ac:spMk id="4" creationId="{B8CB9108-1583-4A1C-846B-3263D00D0833}"/>
          </ac:spMkLst>
        </pc:spChg>
        <pc:spChg chg="mod">
          <ac:chgData name="Zenos Zenica" userId="de3ee720dba36952" providerId="Windows Live" clId="Web-{87EC33F8-20F9-4A9B-8B0C-47C86D280FAD}" dt="2020-11-23T10:48:44.028" v="1125" actId="14100"/>
          <ac:spMkLst>
            <pc:docMk/>
            <pc:sldMk cId="1594379500" sldId="333"/>
            <ac:spMk id="17" creationId="{ECEB0251-5E77-4893-BE63-82157A629DCB}"/>
          </ac:spMkLst>
        </pc:spChg>
        <pc:spChg chg="mod">
          <ac:chgData name="Zenos Zenica" userId="de3ee720dba36952" providerId="Windows Live" clId="Web-{87EC33F8-20F9-4A9B-8B0C-47C86D280FAD}" dt="2020-11-23T10:51:55.534" v="1147" actId="1076"/>
          <ac:spMkLst>
            <pc:docMk/>
            <pc:sldMk cId="1594379500" sldId="333"/>
            <ac:spMk id="19" creationId="{D4C0B170-39E1-45CD-B11E-1BDE66F82314}"/>
          </ac:spMkLst>
        </pc:spChg>
        <pc:spChg chg="mod">
          <ac:chgData name="Zenos Zenica" userId="de3ee720dba36952" providerId="Windows Live" clId="Web-{87EC33F8-20F9-4A9B-8B0C-47C86D280FAD}" dt="2020-11-23T10:50:19.312" v="1135" actId="14100"/>
          <ac:spMkLst>
            <pc:docMk/>
            <pc:sldMk cId="1594379500" sldId="333"/>
            <ac:spMk id="21" creationId="{372084C7-436F-49A0-B770-CD49E24481DA}"/>
          </ac:spMkLst>
        </pc:spChg>
        <pc:spChg chg="mod">
          <ac:chgData name="Zenos Zenica" userId="de3ee720dba36952" providerId="Windows Live" clId="Web-{87EC33F8-20F9-4A9B-8B0C-47C86D280FAD}" dt="2020-11-23T10:51:41.221" v="1145" actId="1076"/>
          <ac:spMkLst>
            <pc:docMk/>
            <pc:sldMk cId="1594379500" sldId="333"/>
            <ac:spMk id="23" creationId="{80407A1B-3379-4379-ADAA-B83C4A6B5122}"/>
          </ac:spMkLst>
        </pc:spChg>
        <pc:spChg chg="mod">
          <ac:chgData name="Zenos Zenica" userId="de3ee720dba36952" providerId="Windows Live" clId="Web-{87EC33F8-20F9-4A9B-8B0C-47C86D280FAD}" dt="2020-11-23T10:49:19.764" v="1130" actId="14100"/>
          <ac:spMkLst>
            <pc:docMk/>
            <pc:sldMk cId="1594379500" sldId="333"/>
            <ac:spMk id="25" creationId="{570D8E36-E49E-43CE-8EED-26E340F60E24}"/>
          </ac:spMkLst>
        </pc:spChg>
        <pc:spChg chg="mod">
          <ac:chgData name="Zenos Zenica" userId="de3ee720dba36952" providerId="Windows Live" clId="Web-{87EC33F8-20F9-4A9B-8B0C-47C86D280FAD}" dt="2020-11-23T10:51:52.237" v="1146" actId="1076"/>
          <ac:spMkLst>
            <pc:docMk/>
            <pc:sldMk cId="1594379500" sldId="333"/>
            <ac:spMk id="26" creationId="{D913C906-D0BA-4E37-A6C9-5D95C7DBE638}"/>
          </ac:spMkLst>
        </pc:spChg>
        <pc:spChg chg="mod">
          <ac:chgData name="Zenos Zenica" userId="de3ee720dba36952" providerId="Windows Live" clId="Web-{87EC33F8-20F9-4A9B-8B0C-47C86D280FAD}" dt="2020-11-23T10:50:52.594" v="1139" actId="14100"/>
          <ac:spMkLst>
            <pc:docMk/>
            <pc:sldMk cId="1594379500" sldId="333"/>
            <ac:spMk id="27" creationId="{C8F42D1E-78C2-4781-B45F-A9AAD1EF1342}"/>
          </ac:spMkLst>
        </pc:spChg>
        <pc:spChg chg="mod">
          <ac:chgData name="Zenos Zenica" userId="de3ee720dba36952" providerId="Windows Live" clId="Web-{87EC33F8-20F9-4A9B-8B0C-47C86D280FAD}" dt="2020-11-23T10:51:32.720" v="1144" actId="1076"/>
          <ac:spMkLst>
            <pc:docMk/>
            <pc:sldMk cId="1594379500" sldId="333"/>
            <ac:spMk id="28" creationId="{25968062-ED97-462D-B304-1041893FBF14}"/>
          </ac:spMkLst>
        </pc:spChg>
        <pc:spChg chg="mod">
          <ac:chgData name="Zenos Zenica" userId="de3ee720dba36952" providerId="Windows Live" clId="Web-{87EC33F8-20F9-4A9B-8B0C-47C86D280FAD}" dt="2020-11-23T10:49:45.936" v="1132" actId="14100"/>
          <ac:spMkLst>
            <pc:docMk/>
            <pc:sldMk cId="1594379500" sldId="333"/>
            <ac:spMk id="29" creationId="{1C407B39-9532-4B90-B586-D24A77CA0727}"/>
          </ac:spMkLst>
        </pc:spChg>
        <pc:spChg chg="mod">
          <ac:chgData name="Zenos Zenica" userId="de3ee720dba36952" providerId="Windows Live" clId="Web-{87EC33F8-20F9-4A9B-8B0C-47C86D280FAD}" dt="2020-11-23T10:52:06.315" v="1149" actId="1076"/>
          <ac:spMkLst>
            <pc:docMk/>
            <pc:sldMk cId="1594379500" sldId="333"/>
            <ac:spMk id="30" creationId="{906E69D6-1AD3-493F-BAB3-C51ECFA4BD34}"/>
          </ac:spMkLst>
        </pc:spChg>
        <pc:spChg chg="mod">
          <ac:chgData name="Zenos Zenica" userId="de3ee720dba36952" providerId="Windows Live" clId="Web-{87EC33F8-20F9-4A9B-8B0C-47C86D280FAD}" dt="2020-11-23T10:51:09.110" v="1141" actId="14100"/>
          <ac:spMkLst>
            <pc:docMk/>
            <pc:sldMk cId="1594379500" sldId="333"/>
            <ac:spMk id="31" creationId="{33A1570D-4040-40B2-834F-288C0AB9A346}"/>
          </ac:spMkLst>
        </pc:spChg>
        <pc:spChg chg="mod">
          <ac:chgData name="Zenos Zenica" userId="de3ee720dba36952" providerId="Windows Live" clId="Web-{87EC33F8-20F9-4A9B-8B0C-47C86D280FAD}" dt="2020-11-23T10:51:24.876" v="1143" actId="1076"/>
          <ac:spMkLst>
            <pc:docMk/>
            <pc:sldMk cId="1594379500" sldId="333"/>
            <ac:spMk id="32" creationId="{6270A8B0-B17F-445E-B447-7A1B33859038}"/>
          </ac:spMkLst>
        </pc:spChg>
        <pc:spChg chg="mod">
          <ac:chgData name="Zenos Zenica" userId="de3ee720dba36952" providerId="Windows Live" clId="Web-{87EC33F8-20F9-4A9B-8B0C-47C86D280FAD}" dt="2020-11-23T10:48:31.794" v="1120" actId="20577"/>
          <ac:spMkLst>
            <pc:docMk/>
            <pc:sldMk cId="1594379500" sldId="333"/>
            <ac:spMk id="33" creationId="{E10DE08E-05A2-4BA2-A349-D26B4140A52C}"/>
          </ac:spMkLst>
        </pc:spChg>
        <pc:spChg chg="mod">
          <ac:chgData name="Zenos Zenica" userId="de3ee720dba36952" providerId="Windows Live" clId="Web-{87EC33F8-20F9-4A9B-8B0C-47C86D280FAD}" dt="2020-11-23T10:48:18.528" v="1103" actId="20577"/>
          <ac:spMkLst>
            <pc:docMk/>
            <pc:sldMk cId="1594379500" sldId="333"/>
            <ac:spMk id="35" creationId="{9ABD22C3-08CC-45FE-9221-C374548E2892}"/>
          </ac:spMkLst>
        </pc:spChg>
        <pc:spChg chg="mod">
          <ac:chgData name="Zenos Zenica" userId="de3ee720dba36952" providerId="Windows Live" clId="Web-{87EC33F8-20F9-4A9B-8B0C-47C86D280FAD}" dt="2020-11-23T10:48:21.637" v="1114" actId="20577"/>
          <ac:spMkLst>
            <pc:docMk/>
            <pc:sldMk cId="1594379500" sldId="333"/>
            <ac:spMk id="37" creationId="{40A71B33-5B2E-4121-AB91-C3937FE19AA4}"/>
          </ac:spMkLst>
        </pc:spChg>
        <pc:spChg chg="mod">
          <ac:chgData name="Zenos Zenica" userId="de3ee720dba36952" providerId="Windows Live" clId="Web-{87EC33F8-20F9-4A9B-8B0C-47C86D280FAD}" dt="2020-11-23T10:52:03.581" v="1148" actId="1076"/>
          <ac:spMkLst>
            <pc:docMk/>
            <pc:sldMk cId="1594379500" sldId="333"/>
            <ac:spMk id="39" creationId="{CEC49EAC-C535-45A2-89C1-00A30D3B97C1}"/>
          </ac:spMkLst>
        </pc:spChg>
        <pc:spChg chg="mod">
          <ac:chgData name="Zenos Zenica" userId="de3ee720dba36952" providerId="Windows Live" clId="Web-{87EC33F8-20F9-4A9B-8B0C-47C86D280FAD}" dt="2020-11-23T10:50:42.235" v="1138" actId="1076"/>
          <ac:spMkLst>
            <pc:docMk/>
            <pc:sldMk cId="1594379500" sldId="333"/>
            <ac:spMk id="41" creationId="{FC00461B-375B-4BFF-B977-DA72C1E1F3E1}"/>
          </ac:spMkLst>
        </pc:spChg>
        <pc:spChg chg="mod">
          <ac:chgData name="Zenos Zenica" userId="de3ee720dba36952" providerId="Windows Live" clId="Web-{87EC33F8-20F9-4A9B-8B0C-47C86D280FAD}" dt="2020-11-23T10:50:35" v="1137" actId="1076"/>
          <ac:spMkLst>
            <pc:docMk/>
            <pc:sldMk cId="1594379500" sldId="333"/>
            <ac:spMk id="42" creationId="{D623B23D-BA39-45F1-A88F-2E15FA967617}"/>
          </ac:spMkLst>
        </pc:spChg>
        <pc:spChg chg="mod">
          <ac:chgData name="Zenos Zenica" userId="de3ee720dba36952" providerId="Windows Live" clId="Web-{87EC33F8-20F9-4A9B-8B0C-47C86D280FAD}" dt="2020-11-23T10:48:53.310" v="1127" actId="1076"/>
          <ac:spMkLst>
            <pc:docMk/>
            <pc:sldMk cId="1594379500" sldId="333"/>
            <ac:spMk id="43" creationId="{D58755C9-57D4-4E13-B2AA-8F9B9913EEEC}"/>
          </ac:spMkLst>
        </pc:spChg>
        <pc:spChg chg="mod">
          <ac:chgData name="Zenos Zenica" userId="de3ee720dba36952" providerId="Windows Live" clId="Web-{87EC33F8-20F9-4A9B-8B0C-47C86D280FAD}" dt="2020-11-23T10:48:50.153" v="1126" actId="1076"/>
          <ac:spMkLst>
            <pc:docMk/>
            <pc:sldMk cId="1594379500" sldId="333"/>
            <ac:spMk id="44" creationId="{15950AA9-664D-4F7E-8D68-5D88A72171A5}"/>
          </ac:spMkLst>
        </pc:spChg>
      </pc:sldChg>
      <pc:sldChg chg="modSp add">
        <pc:chgData name="Zenos Zenica" userId="de3ee720dba36952" providerId="Windows Live" clId="Web-{87EC33F8-20F9-4A9B-8B0C-47C86D280FAD}" dt="2020-11-23T11:29:25.472" v="1310" actId="20577"/>
        <pc:sldMkLst>
          <pc:docMk/>
          <pc:sldMk cId="205666530" sldId="334"/>
        </pc:sldMkLst>
        <pc:spChg chg="mod">
          <ac:chgData name="Zenos Zenica" userId="de3ee720dba36952" providerId="Windows Live" clId="Web-{87EC33F8-20F9-4A9B-8B0C-47C86D280FAD}" dt="2020-11-23T09:38:48.205" v="482" actId="20577"/>
          <ac:spMkLst>
            <pc:docMk/>
            <pc:sldMk cId="205666530" sldId="334"/>
            <ac:spMk id="4" creationId="{B8CB9108-1583-4A1C-846B-3263D00D0833}"/>
          </ac:spMkLst>
        </pc:spChg>
        <pc:spChg chg="mod">
          <ac:chgData name="Zenos Zenica" userId="de3ee720dba36952" providerId="Windows Live" clId="Web-{87EC33F8-20F9-4A9B-8B0C-47C86D280FAD}" dt="2020-11-23T10:55:05.117" v="1171" actId="14100"/>
          <ac:spMkLst>
            <pc:docMk/>
            <pc:sldMk cId="205666530" sldId="334"/>
            <ac:spMk id="8" creationId="{C504D179-549E-430C-924D-AE1460210201}"/>
          </ac:spMkLst>
        </pc:spChg>
        <pc:spChg chg="mod">
          <ac:chgData name="Zenos Zenica" userId="de3ee720dba36952" providerId="Windows Live" clId="Web-{87EC33F8-20F9-4A9B-8B0C-47C86D280FAD}" dt="2020-11-23T10:58:46.998" v="1205" actId="14100"/>
          <ac:spMkLst>
            <pc:docMk/>
            <pc:sldMk cId="205666530" sldId="334"/>
            <ac:spMk id="12" creationId="{10B9F30F-497C-401A-9384-ACCC5B5048AA}"/>
          </ac:spMkLst>
        </pc:spChg>
        <pc:spChg chg="mod">
          <ac:chgData name="Zenos Zenica" userId="de3ee720dba36952" providerId="Windows Live" clId="Web-{87EC33F8-20F9-4A9B-8B0C-47C86D280FAD}" dt="2020-11-23T10:59:10.780" v="1209" actId="1076"/>
          <ac:spMkLst>
            <pc:docMk/>
            <pc:sldMk cId="205666530" sldId="334"/>
            <ac:spMk id="13" creationId="{8D48B857-CB4D-4F13-A688-42313E3DE8A9}"/>
          </ac:spMkLst>
        </pc:spChg>
        <pc:spChg chg="mod">
          <ac:chgData name="Zenos Zenica" userId="de3ee720dba36952" providerId="Windows Live" clId="Web-{87EC33F8-20F9-4A9B-8B0C-47C86D280FAD}" dt="2020-11-23T10:58:11.872" v="1201" actId="1076"/>
          <ac:spMkLst>
            <pc:docMk/>
            <pc:sldMk cId="205666530" sldId="334"/>
            <ac:spMk id="18" creationId="{D0464D69-1123-4620-8E89-9B77E10005EF}"/>
          </ac:spMkLst>
        </pc:spChg>
        <pc:spChg chg="mod">
          <ac:chgData name="Zenos Zenica" userId="de3ee720dba36952" providerId="Windows Live" clId="Web-{87EC33F8-20F9-4A9B-8B0C-47C86D280FAD}" dt="2020-11-23T11:27:02.093" v="1297" actId="1076"/>
          <ac:spMkLst>
            <pc:docMk/>
            <pc:sldMk cId="205666530" sldId="334"/>
            <ac:spMk id="22" creationId="{4824B841-4170-4FB1-A04B-76561D9D7555}"/>
          </ac:spMkLst>
        </pc:spChg>
        <pc:spChg chg="mod">
          <ac:chgData name="Zenos Zenica" userId="de3ee720dba36952" providerId="Windows Live" clId="Web-{87EC33F8-20F9-4A9B-8B0C-47C86D280FAD}" dt="2020-11-23T11:28:19.408" v="1306" actId="1076"/>
          <ac:spMkLst>
            <pc:docMk/>
            <pc:sldMk cId="205666530" sldId="334"/>
            <ac:spMk id="24" creationId="{9A7DEF16-A518-4A44-97E4-09C2F85D11E4}"/>
          </ac:spMkLst>
        </pc:spChg>
        <pc:spChg chg="mod">
          <ac:chgData name="Zenos Zenica" userId="de3ee720dba36952" providerId="Windows Live" clId="Web-{87EC33F8-20F9-4A9B-8B0C-47C86D280FAD}" dt="2020-11-23T11:29:25.472" v="1310" actId="20577"/>
          <ac:spMkLst>
            <pc:docMk/>
            <pc:sldMk cId="205666530" sldId="334"/>
            <ac:spMk id="33" creationId="{E10DE08E-05A2-4BA2-A349-D26B4140A52C}"/>
          </ac:spMkLst>
        </pc:spChg>
        <pc:spChg chg="mod">
          <ac:chgData name="Zenos Zenica" userId="de3ee720dba36952" providerId="Windows Live" clId="Web-{87EC33F8-20F9-4A9B-8B0C-47C86D280FAD}" dt="2020-11-23T10:54:08.350" v="1166" actId="20577"/>
          <ac:spMkLst>
            <pc:docMk/>
            <pc:sldMk cId="205666530" sldId="334"/>
            <ac:spMk id="35" creationId="{9ABD22C3-08CC-45FE-9221-C374548E2892}"/>
          </ac:spMkLst>
        </pc:spChg>
        <pc:spChg chg="mod">
          <ac:chgData name="Zenos Zenica" userId="de3ee720dba36952" providerId="Windows Live" clId="Web-{87EC33F8-20F9-4A9B-8B0C-47C86D280FAD}" dt="2020-11-23T10:58:52.920" v="1207" actId="20577"/>
          <ac:spMkLst>
            <pc:docMk/>
            <pc:sldMk cId="205666530" sldId="334"/>
            <ac:spMk id="41" creationId="{FC00461B-375B-4BFF-B977-DA72C1E1F3E1}"/>
          </ac:spMkLst>
        </pc:spChg>
        <pc:spChg chg="mod">
          <ac:chgData name="Zenos Zenica" userId="de3ee720dba36952" providerId="Windows Live" clId="Web-{87EC33F8-20F9-4A9B-8B0C-47C86D280FAD}" dt="2020-11-23T09:38:18.798" v="469" actId="1076"/>
          <ac:spMkLst>
            <pc:docMk/>
            <pc:sldMk cId="205666530" sldId="334"/>
            <ac:spMk id="42" creationId="{D623B23D-BA39-45F1-A88F-2E15FA967617}"/>
          </ac:spMkLst>
        </pc:spChg>
        <pc:spChg chg="mod">
          <ac:chgData name="Zenos Zenica" userId="de3ee720dba36952" providerId="Windows Live" clId="Web-{87EC33F8-20F9-4A9B-8B0C-47C86D280FAD}" dt="2020-11-23T10:52:31.128" v="1152" actId="20577"/>
          <ac:spMkLst>
            <pc:docMk/>
            <pc:sldMk cId="205666530" sldId="334"/>
            <ac:spMk id="43" creationId="{D58755C9-57D4-4E13-B2AA-8F9B9913EEEC}"/>
          </ac:spMkLst>
        </pc:spChg>
        <pc:spChg chg="mod">
          <ac:chgData name="Zenos Zenica" userId="de3ee720dba36952" providerId="Windows Live" clId="Web-{87EC33F8-20F9-4A9B-8B0C-47C86D280FAD}" dt="2020-11-23T09:37:50.329" v="460" actId="1076"/>
          <ac:spMkLst>
            <pc:docMk/>
            <pc:sldMk cId="205666530" sldId="334"/>
            <ac:spMk id="44" creationId="{15950AA9-664D-4F7E-8D68-5D88A72171A5}"/>
          </ac:spMkLst>
        </pc:spChg>
        <pc:spChg chg="mod">
          <ac:chgData name="Zenos Zenica" userId="de3ee720dba36952" providerId="Windows Live" clId="Web-{87EC33F8-20F9-4A9B-8B0C-47C86D280FAD}" dt="2020-11-23T10:57:48.637" v="1195" actId="14100"/>
          <ac:spMkLst>
            <pc:docMk/>
            <pc:sldMk cId="205666530" sldId="334"/>
            <ac:spMk id="51" creationId="{0752F142-B8B2-4648-936D-0F80B02EF3FF}"/>
          </ac:spMkLst>
        </pc:spChg>
        <pc:spChg chg="mod">
          <ac:chgData name="Zenos Zenica" userId="de3ee720dba36952" providerId="Windows Live" clId="Web-{87EC33F8-20F9-4A9B-8B0C-47C86D280FAD}" dt="2020-11-23T10:57:25.652" v="1191" actId="14100"/>
          <ac:spMkLst>
            <pc:docMk/>
            <pc:sldMk cId="205666530" sldId="334"/>
            <ac:spMk id="52" creationId="{96395282-A677-4A2A-BD49-780B13CAF386}"/>
          </ac:spMkLst>
        </pc:spChg>
        <pc:spChg chg="mod">
          <ac:chgData name="Zenos Zenica" userId="de3ee720dba36952" providerId="Windows Live" clId="Web-{87EC33F8-20F9-4A9B-8B0C-47C86D280FAD}" dt="2020-11-23T11:29:00.081" v="1308" actId="14100"/>
          <ac:spMkLst>
            <pc:docMk/>
            <pc:sldMk cId="205666530" sldId="334"/>
            <ac:spMk id="54" creationId="{31DC9D47-2AF8-4B70-8539-1536E8D22A75}"/>
          </ac:spMkLst>
        </pc:spChg>
        <pc:spChg chg="mod">
          <ac:chgData name="Zenos Zenica" userId="de3ee720dba36952" providerId="Windows Live" clId="Web-{87EC33F8-20F9-4A9B-8B0C-47C86D280FAD}" dt="2020-11-23T11:01:24.440" v="1224" actId="14100"/>
          <ac:spMkLst>
            <pc:docMk/>
            <pc:sldMk cId="205666530" sldId="334"/>
            <ac:spMk id="55" creationId="{C4A9EBEA-AFD3-4C5E-A096-C3A2DECBD6EF}"/>
          </ac:spMkLst>
        </pc:spChg>
        <pc:spChg chg="mod">
          <ac:chgData name="Zenos Zenica" userId="de3ee720dba36952" providerId="Windows Live" clId="Web-{87EC33F8-20F9-4A9B-8B0C-47C86D280FAD}" dt="2020-11-23T11:27:52.829" v="1303" actId="14100"/>
          <ac:spMkLst>
            <pc:docMk/>
            <pc:sldMk cId="205666530" sldId="334"/>
            <ac:spMk id="60" creationId="{96743CEC-B6D6-42EA-8499-E74FA8B136E9}"/>
          </ac:spMkLst>
        </pc:spChg>
        <pc:spChg chg="mod">
          <ac:chgData name="Zenos Zenica" userId="de3ee720dba36952" providerId="Windows Live" clId="Web-{87EC33F8-20F9-4A9B-8B0C-47C86D280FAD}" dt="2020-11-23T11:22:52.368" v="1278" actId="14100"/>
          <ac:spMkLst>
            <pc:docMk/>
            <pc:sldMk cId="205666530" sldId="334"/>
            <ac:spMk id="61" creationId="{0309BC7A-A16E-47DC-901D-608967475CD1}"/>
          </ac:spMkLst>
        </pc:spChg>
        <pc:spChg chg="mod">
          <ac:chgData name="Zenos Zenica" userId="de3ee720dba36952" providerId="Windows Live" clId="Web-{87EC33F8-20F9-4A9B-8B0C-47C86D280FAD}" dt="2020-11-23T11:28:45.487" v="1307" actId="1076"/>
          <ac:spMkLst>
            <pc:docMk/>
            <pc:sldMk cId="205666530" sldId="334"/>
            <ac:spMk id="62" creationId="{96308D3D-624D-4687-A1AA-B59FABD81090}"/>
          </ac:spMkLst>
        </pc:spChg>
        <pc:grpChg chg="mod">
          <ac:chgData name="Zenos Zenica" userId="de3ee720dba36952" providerId="Windows Live" clId="Web-{87EC33F8-20F9-4A9B-8B0C-47C86D280FAD}" dt="2020-11-23T11:27:55.610" v="1304" actId="1076"/>
          <ac:grpSpMkLst>
            <pc:docMk/>
            <pc:sldMk cId="205666530" sldId="334"/>
            <ac:grpSpMk id="63" creationId="{5AA573D5-0A86-4A11-ACE1-C915D3688092}"/>
          </ac:grpSpMkLst>
        </pc:grpChg>
        <pc:picChg chg="mod">
          <ac:chgData name="Zenos Zenica" userId="de3ee720dba36952" providerId="Windows Live" clId="Web-{87EC33F8-20F9-4A9B-8B0C-47C86D280FAD}" dt="2020-11-23T10:55:19.586" v="1172" actId="14100"/>
          <ac:picMkLst>
            <pc:docMk/>
            <pc:sldMk cId="205666530" sldId="334"/>
            <ac:picMk id="7" creationId="{0D7D054B-E331-40A9-B209-57CDA8FF6287}"/>
          </ac:picMkLst>
        </pc:picChg>
        <pc:picChg chg="mod">
          <ac:chgData name="Zenos Zenica" userId="de3ee720dba36952" providerId="Windows Live" clId="Web-{87EC33F8-20F9-4A9B-8B0C-47C86D280FAD}" dt="2020-11-23T11:03:00.177" v="1241" actId="1076"/>
          <ac:picMkLst>
            <pc:docMk/>
            <pc:sldMk cId="205666530" sldId="334"/>
            <ac:picMk id="11" creationId="{DF08BE97-04E9-4CBB-9DB3-0D08CD72A041}"/>
          </ac:picMkLst>
        </pc:picChg>
        <pc:picChg chg="mod">
          <ac:chgData name="Zenos Zenica" userId="de3ee720dba36952" providerId="Windows Live" clId="Web-{87EC33F8-20F9-4A9B-8B0C-47C86D280FAD}" dt="2020-11-23T10:58:28.482" v="1204" actId="14100"/>
          <ac:picMkLst>
            <pc:docMk/>
            <pc:sldMk cId="205666530" sldId="334"/>
            <ac:picMk id="15" creationId="{CE19AED4-A627-4B97-88F8-DE860B3C536C}"/>
          </ac:picMkLst>
        </pc:picChg>
        <pc:picChg chg="mod">
          <ac:chgData name="Zenos Zenica" userId="de3ee720dba36952" providerId="Windows Live" clId="Web-{87EC33F8-20F9-4A9B-8B0C-47C86D280FAD}" dt="2020-11-23T11:28:05.751" v="1305" actId="1076"/>
          <ac:picMkLst>
            <pc:docMk/>
            <pc:sldMk cId="205666530" sldId="334"/>
            <ac:picMk id="20" creationId="{83D7ADA3-5C20-48FF-A662-0852EFAA58AD}"/>
          </ac:picMkLst>
        </pc:picChg>
      </pc:sldChg>
      <pc:sldChg chg="modSp add">
        <pc:chgData name="Zenos Zenica" userId="de3ee720dba36952" providerId="Windows Live" clId="Web-{87EC33F8-20F9-4A9B-8B0C-47C86D280FAD}" dt="2020-11-23T11:37:10.129" v="1345" actId="1076"/>
        <pc:sldMkLst>
          <pc:docMk/>
          <pc:sldMk cId="1179442141" sldId="335"/>
        </pc:sldMkLst>
        <pc:spChg chg="mod">
          <ac:chgData name="Zenos Zenica" userId="de3ee720dba36952" providerId="Windows Live" clId="Web-{87EC33F8-20F9-4A9B-8B0C-47C86D280FAD}" dt="2020-11-23T09:44:23.170" v="527" actId="20577"/>
          <ac:spMkLst>
            <pc:docMk/>
            <pc:sldMk cId="1179442141" sldId="335"/>
            <ac:spMk id="4" creationId="{B8CB9108-1583-4A1C-846B-3263D00D0833}"/>
          </ac:spMkLst>
        </pc:spChg>
        <pc:spChg chg="mod">
          <ac:chgData name="Zenos Zenica" userId="de3ee720dba36952" providerId="Windows Live" clId="Web-{87EC33F8-20F9-4A9B-8B0C-47C86D280FAD}" dt="2020-11-23T11:35:27.360" v="1328" actId="1076"/>
          <ac:spMkLst>
            <pc:docMk/>
            <pc:sldMk cId="1179442141" sldId="335"/>
            <ac:spMk id="37" creationId="{A0EBBBD1-F287-47AD-8E4D-B2C7350A5A25}"/>
          </ac:spMkLst>
        </pc:spChg>
        <pc:spChg chg="mod">
          <ac:chgData name="Zenos Zenica" userId="de3ee720dba36952" providerId="Windows Live" clId="Web-{87EC33F8-20F9-4A9B-8B0C-47C86D280FAD}" dt="2020-11-23T11:36:20.502" v="1336" actId="1076"/>
          <ac:spMkLst>
            <pc:docMk/>
            <pc:sldMk cId="1179442141" sldId="335"/>
            <ac:spMk id="68" creationId="{FA8FEC39-5864-4A7C-9E85-191BA8B16FDA}"/>
          </ac:spMkLst>
        </pc:spChg>
        <pc:spChg chg="mod">
          <ac:chgData name="Zenos Zenica" userId="de3ee720dba36952" providerId="Windows Live" clId="Web-{87EC33F8-20F9-4A9B-8B0C-47C86D280FAD}" dt="2020-11-23T11:36:16.361" v="1335" actId="1076"/>
          <ac:spMkLst>
            <pc:docMk/>
            <pc:sldMk cId="1179442141" sldId="335"/>
            <ac:spMk id="69" creationId="{EB452655-6B3B-4836-ADCC-CFC1ECD5CD26}"/>
          </ac:spMkLst>
        </pc:spChg>
        <pc:spChg chg="mod">
          <ac:chgData name="Zenos Zenica" userId="de3ee720dba36952" providerId="Windows Live" clId="Web-{87EC33F8-20F9-4A9B-8B0C-47C86D280FAD}" dt="2020-11-23T11:36:34.909" v="1341" actId="1076"/>
          <ac:spMkLst>
            <pc:docMk/>
            <pc:sldMk cId="1179442141" sldId="335"/>
            <ac:spMk id="70" creationId="{9F21CB7B-18EA-40CC-B989-C2FC18616514}"/>
          </ac:spMkLst>
        </pc:spChg>
        <pc:spChg chg="mod">
          <ac:chgData name="Zenos Zenica" userId="de3ee720dba36952" providerId="Windows Live" clId="Web-{87EC33F8-20F9-4A9B-8B0C-47C86D280FAD}" dt="2020-11-23T11:36:29.799" v="1340" actId="1076"/>
          <ac:spMkLst>
            <pc:docMk/>
            <pc:sldMk cId="1179442141" sldId="335"/>
            <ac:spMk id="71" creationId="{15988530-D171-4EBC-BF69-B690587B0E32}"/>
          </ac:spMkLst>
        </pc:spChg>
        <pc:spChg chg="mod">
          <ac:chgData name="Zenos Zenica" userId="de3ee720dba36952" providerId="Windows Live" clId="Web-{87EC33F8-20F9-4A9B-8B0C-47C86D280FAD}" dt="2020-11-23T11:37:10.129" v="1345" actId="1076"/>
          <ac:spMkLst>
            <pc:docMk/>
            <pc:sldMk cId="1179442141" sldId="335"/>
            <ac:spMk id="72" creationId="{6C54F31E-E62D-4496-B3A5-16BCEB6AF122}"/>
          </ac:spMkLst>
        </pc:spChg>
        <pc:spChg chg="mod">
          <ac:chgData name="Zenos Zenica" userId="de3ee720dba36952" providerId="Windows Live" clId="Web-{87EC33F8-20F9-4A9B-8B0C-47C86D280FAD}" dt="2020-11-23T11:37:04.191" v="1344" actId="1076"/>
          <ac:spMkLst>
            <pc:docMk/>
            <pc:sldMk cId="1179442141" sldId="335"/>
            <ac:spMk id="73" creationId="{7DE623F0-3751-464F-872E-A2A4A39A44D8}"/>
          </ac:spMkLst>
        </pc:spChg>
        <pc:spChg chg="mod">
          <ac:chgData name="Zenos Zenica" userId="de3ee720dba36952" providerId="Windows Live" clId="Web-{87EC33F8-20F9-4A9B-8B0C-47C86D280FAD}" dt="2020-11-23T11:35:43.501" v="1331" actId="1076"/>
          <ac:spMkLst>
            <pc:docMk/>
            <pc:sldMk cId="1179442141" sldId="335"/>
            <ac:spMk id="74" creationId="{E7EAA186-74D2-44B9-9680-8CE76F00AF4F}"/>
          </ac:spMkLst>
        </pc:spChg>
        <pc:spChg chg="mod">
          <ac:chgData name="Zenos Zenica" userId="de3ee720dba36952" providerId="Windows Live" clId="Web-{87EC33F8-20F9-4A9B-8B0C-47C86D280FAD}" dt="2020-11-23T11:35:39.532" v="1330" actId="1076"/>
          <ac:spMkLst>
            <pc:docMk/>
            <pc:sldMk cId="1179442141" sldId="335"/>
            <ac:spMk id="75" creationId="{E6D0B63D-4B85-40C3-AD04-982EF4B7D848}"/>
          </ac:spMkLst>
        </pc:spChg>
        <pc:spChg chg="mod">
          <ac:chgData name="Zenos Zenica" userId="de3ee720dba36952" providerId="Windows Live" clId="Web-{87EC33F8-20F9-4A9B-8B0C-47C86D280FAD}" dt="2020-11-23T11:36:03.658" v="1334" actId="1076"/>
          <ac:spMkLst>
            <pc:docMk/>
            <pc:sldMk cId="1179442141" sldId="335"/>
            <ac:spMk id="76" creationId="{AF08BC43-008A-439D-87BE-7A3D0CD82B85}"/>
          </ac:spMkLst>
        </pc:spChg>
        <pc:spChg chg="mod">
          <ac:chgData name="Zenos Zenica" userId="de3ee720dba36952" providerId="Windows Live" clId="Web-{87EC33F8-20F9-4A9B-8B0C-47C86D280FAD}" dt="2020-11-23T11:35:57.095" v="1333" actId="1076"/>
          <ac:spMkLst>
            <pc:docMk/>
            <pc:sldMk cId="1179442141" sldId="335"/>
            <ac:spMk id="77" creationId="{5B6AC39C-0D37-4F0C-BACB-2421CAC34219}"/>
          </ac:spMkLst>
        </pc:spChg>
        <pc:grpChg chg="mod">
          <ac:chgData name="Zenos Zenica" userId="de3ee720dba36952" providerId="Windows Live" clId="Web-{87EC33F8-20F9-4A9B-8B0C-47C86D280FAD}" dt="2020-11-23T11:36:49.878" v="1343" actId="1076"/>
          <ac:grpSpMkLst>
            <pc:docMk/>
            <pc:sldMk cId="1179442141" sldId="335"/>
            <ac:grpSpMk id="3" creationId="{102F3914-350E-4629-BD47-D479A4289A90}"/>
          </ac:grpSpMkLst>
        </pc:grpChg>
      </pc:sldChg>
      <pc:sldChg chg="modSp add">
        <pc:chgData name="Zenos Zenica" userId="de3ee720dba36952" providerId="Windows Live" clId="Web-{87EC33F8-20F9-4A9B-8B0C-47C86D280FAD}" dt="2020-11-23T11:37:36.036" v="1353" actId="20577"/>
        <pc:sldMkLst>
          <pc:docMk/>
          <pc:sldMk cId="1950463891" sldId="336"/>
        </pc:sldMkLst>
        <pc:spChg chg="mod">
          <ac:chgData name="Zenos Zenica" userId="de3ee720dba36952" providerId="Windows Live" clId="Web-{87EC33F8-20F9-4A9B-8B0C-47C86D280FAD}" dt="2020-11-23T09:52:10.667" v="535" actId="1076"/>
          <ac:spMkLst>
            <pc:docMk/>
            <pc:sldMk cId="1950463891" sldId="336"/>
            <ac:spMk id="4" creationId="{B8CB9108-1583-4A1C-846B-3263D00D0833}"/>
          </ac:spMkLst>
        </pc:spChg>
        <pc:spChg chg="mod">
          <ac:chgData name="Zenos Zenica" userId="de3ee720dba36952" providerId="Windows Live" clId="Web-{87EC33F8-20F9-4A9B-8B0C-47C86D280FAD}" dt="2020-11-23T09:52:19.027" v="543"/>
          <ac:spMkLst>
            <pc:docMk/>
            <pc:sldMk cId="1950463891" sldId="336"/>
            <ac:spMk id="56" creationId="{7863407F-31F9-455F-9091-FB4A09BC17A3}"/>
          </ac:spMkLst>
        </pc:spChg>
        <pc:spChg chg="mod">
          <ac:chgData name="Zenos Zenica" userId="de3ee720dba36952" providerId="Windows Live" clId="Web-{87EC33F8-20F9-4A9B-8B0C-47C86D280FAD}" dt="2020-11-23T09:52:19.058" v="544"/>
          <ac:spMkLst>
            <pc:docMk/>
            <pc:sldMk cId="1950463891" sldId="336"/>
            <ac:spMk id="64" creationId="{87E30826-A9C8-4169-AA03-4512D1660660}"/>
          </ac:spMkLst>
        </pc:spChg>
        <pc:spChg chg="mod">
          <ac:chgData name="Zenos Zenica" userId="de3ee720dba36952" providerId="Windows Live" clId="Web-{87EC33F8-20F9-4A9B-8B0C-47C86D280FAD}" dt="2020-11-23T09:52:19.105" v="545"/>
          <ac:spMkLst>
            <pc:docMk/>
            <pc:sldMk cId="1950463891" sldId="336"/>
            <ac:spMk id="65" creationId="{7E73F8D5-5393-4B89-A5F3-727B18226DD1}"/>
          </ac:spMkLst>
        </pc:spChg>
        <pc:spChg chg="mod">
          <ac:chgData name="Zenos Zenica" userId="de3ee720dba36952" providerId="Windows Live" clId="Web-{87EC33F8-20F9-4A9B-8B0C-47C86D280FAD}" dt="2020-11-23T09:53:44.170" v="568" actId="1076"/>
          <ac:spMkLst>
            <pc:docMk/>
            <pc:sldMk cId="1950463891" sldId="336"/>
            <ac:spMk id="67" creationId="{53AF438A-65E6-462F-82C0-A02F5CC4B3AF}"/>
          </ac:spMkLst>
        </pc:spChg>
        <pc:spChg chg="mod">
          <ac:chgData name="Zenos Zenica" userId="de3ee720dba36952" providerId="Windows Live" clId="Web-{87EC33F8-20F9-4A9B-8B0C-47C86D280FAD}" dt="2020-11-23T09:52:19.183" v="547"/>
          <ac:spMkLst>
            <pc:docMk/>
            <pc:sldMk cId="1950463891" sldId="336"/>
            <ac:spMk id="69" creationId="{E97C74B9-3D40-4C05-89E6-6D60E108BA2F}"/>
          </ac:spMkLst>
        </pc:spChg>
        <pc:spChg chg="mod">
          <ac:chgData name="Zenos Zenica" userId="de3ee720dba36952" providerId="Windows Live" clId="Web-{87EC33F8-20F9-4A9B-8B0C-47C86D280FAD}" dt="2020-11-23T09:53:38.857" v="567" actId="1076"/>
          <ac:spMkLst>
            <pc:docMk/>
            <pc:sldMk cId="1950463891" sldId="336"/>
            <ac:spMk id="71" creationId="{2591DEE7-16C9-41F4-9D5E-ADD3F688DD1B}"/>
          </ac:spMkLst>
        </pc:spChg>
        <pc:spChg chg="mod">
          <ac:chgData name="Zenos Zenica" userId="de3ee720dba36952" providerId="Windows Live" clId="Web-{87EC33F8-20F9-4A9B-8B0C-47C86D280FAD}" dt="2020-11-23T11:37:26.879" v="1347" actId="20577"/>
          <ac:spMkLst>
            <pc:docMk/>
            <pc:sldMk cId="1950463891" sldId="336"/>
            <ac:spMk id="72" creationId="{A00ABA79-0538-415D-BDA8-FAD3B3DDFC56}"/>
          </ac:spMkLst>
        </pc:spChg>
        <pc:spChg chg="mod">
          <ac:chgData name="Zenos Zenica" userId="de3ee720dba36952" providerId="Windows Live" clId="Web-{87EC33F8-20F9-4A9B-8B0C-47C86D280FAD}" dt="2020-11-23T09:53:00.559" v="562" actId="1076"/>
          <ac:spMkLst>
            <pc:docMk/>
            <pc:sldMk cId="1950463891" sldId="336"/>
            <ac:spMk id="73" creationId="{5083A07E-8B8D-4BBF-BB11-6FC6C46F34A9}"/>
          </ac:spMkLst>
        </pc:spChg>
        <pc:spChg chg="mod">
          <ac:chgData name="Zenos Zenica" userId="de3ee720dba36952" providerId="Windows Live" clId="Web-{87EC33F8-20F9-4A9B-8B0C-47C86D280FAD}" dt="2020-11-23T11:37:36.036" v="1353" actId="20577"/>
          <ac:spMkLst>
            <pc:docMk/>
            <pc:sldMk cId="1950463891" sldId="336"/>
            <ac:spMk id="74" creationId="{9030C19A-A471-40C6-8190-09ED32A0EC9B}"/>
          </ac:spMkLst>
        </pc:spChg>
        <pc:spChg chg="mod">
          <ac:chgData name="Zenos Zenica" userId="de3ee720dba36952" providerId="Windows Live" clId="Web-{87EC33F8-20F9-4A9B-8B0C-47C86D280FAD}" dt="2020-11-23T09:53:26.091" v="566" actId="1076"/>
          <ac:spMkLst>
            <pc:docMk/>
            <pc:sldMk cId="1950463891" sldId="336"/>
            <ac:spMk id="75" creationId="{2E5CFBC4-6391-4373-99CC-B63A99322B7C}"/>
          </ac:spMkLst>
        </pc:spChg>
        <pc:spChg chg="mod">
          <ac:chgData name="Zenos Zenica" userId="de3ee720dba36952" providerId="Windows Live" clId="Web-{87EC33F8-20F9-4A9B-8B0C-47C86D280FAD}" dt="2020-11-23T11:37:31.457" v="1350" actId="20577"/>
          <ac:spMkLst>
            <pc:docMk/>
            <pc:sldMk cId="1950463891" sldId="336"/>
            <ac:spMk id="76" creationId="{1A99DFFC-7E0D-4A06-B8C7-C32F9E0DCBD0}"/>
          </ac:spMkLst>
        </pc:spChg>
        <pc:spChg chg="mod">
          <ac:chgData name="Zenos Zenica" userId="de3ee720dba36952" providerId="Windows Live" clId="Web-{87EC33F8-20F9-4A9B-8B0C-47C86D280FAD}" dt="2020-11-23T09:53:19.357" v="565" actId="1076"/>
          <ac:spMkLst>
            <pc:docMk/>
            <pc:sldMk cId="1950463891" sldId="336"/>
            <ac:spMk id="77" creationId="{F4137F18-C25E-4562-8961-677540C1F9AA}"/>
          </ac:spMkLst>
        </pc:spChg>
      </pc:sldChg>
      <pc:sldChg chg="modSp add">
        <pc:chgData name="Zenos Zenica" userId="de3ee720dba36952" providerId="Windows Live" clId="Web-{87EC33F8-20F9-4A9B-8B0C-47C86D280FAD}" dt="2020-11-23T10:30:41.982" v="1026"/>
        <pc:sldMkLst>
          <pc:docMk/>
          <pc:sldMk cId="2372930145" sldId="337"/>
        </pc:sldMkLst>
        <pc:spChg chg="mod">
          <ac:chgData name="Zenos Zenica" userId="de3ee720dba36952" providerId="Windows Live" clId="Web-{87EC33F8-20F9-4A9B-8B0C-47C86D280FAD}" dt="2020-11-23T09:54:17.609" v="578" actId="20577"/>
          <ac:spMkLst>
            <pc:docMk/>
            <pc:sldMk cId="2372930145" sldId="337"/>
            <ac:spMk id="4" creationId="{B8CB9108-1583-4A1C-846B-3263D00D0833}"/>
          </ac:spMkLst>
        </pc:spChg>
        <pc:spChg chg="mod">
          <ac:chgData name="Zenos Zenica" userId="de3ee720dba36952" providerId="Windows Live" clId="Web-{87EC33F8-20F9-4A9B-8B0C-47C86D280FAD}" dt="2020-11-23T09:54:39.718" v="580"/>
          <ac:spMkLst>
            <pc:docMk/>
            <pc:sldMk cId="2372930145" sldId="337"/>
            <ac:spMk id="100" creationId="{66CEFA19-A89E-45AE-A8AA-9EB88B09DB08}"/>
          </ac:spMkLst>
        </pc:spChg>
        <pc:spChg chg="mod">
          <ac:chgData name="Zenos Zenica" userId="de3ee720dba36952" providerId="Windows Live" clId="Web-{87EC33F8-20F9-4A9B-8B0C-47C86D280FAD}" dt="2020-11-23T09:54:39.750" v="581"/>
          <ac:spMkLst>
            <pc:docMk/>
            <pc:sldMk cId="2372930145" sldId="337"/>
            <ac:spMk id="101" creationId="{C29A9824-A266-4814-8C3A-75D6F3DE3181}"/>
          </ac:spMkLst>
        </pc:spChg>
        <pc:spChg chg="mod">
          <ac:chgData name="Zenos Zenica" userId="de3ee720dba36952" providerId="Windows Live" clId="Web-{87EC33F8-20F9-4A9B-8B0C-47C86D280FAD}" dt="2020-11-23T09:54:55.594" v="597" actId="1076"/>
          <ac:spMkLst>
            <pc:docMk/>
            <pc:sldMk cId="2372930145" sldId="337"/>
            <ac:spMk id="102" creationId="{C052CC27-414E-44EE-9A77-8F7CDF8B78F5}"/>
          </ac:spMkLst>
        </pc:spChg>
        <pc:spChg chg="mod">
          <ac:chgData name="Zenos Zenica" userId="de3ee720dba36952" providerId="Windows Live" clId="Web-{87EC33F8-20F9-4A9B-8B0C-47C86D280FAD}" dt="2020-11-23T10:30:41.951" v="1025"/>
          <ac:spMkLst>
            <pc:docMk/>
            <pc:sldMk cId="2372930145" sldId="337"/>
            <ac:spMk id="103" creationId="{318408D4-9A61-40B2-94BD-FD964F95BD07}"/>
          </ac:spMkLst>
        </pc:spChg>
        <pc:spChg chg="mod">
          <ac:chgData name="Zenos Zenica" userId="de3ee720dba36952" providerId="Windows Live" clId="Web-{87EC33F8-20F9-4A9B-8B0C-47C86D280FAD}" dt="2020-11-23T09:54:39.781" v="583"/>
          <ac:spMkLst>
            <pc:docMk/>
            <pc:sldMk cId="2372930145" sldId="337"/>
            <ac:spMk id="104" creationId="{70B4A29E-8037-4EE2-9D63-11CF1D211005}"/>
          </ac:spMkLst>
        </pc:spChg>
        <pc:spChg chg="mod">
          <ac:chgData name="Zenos Zenica" userId="de3ee720dba36952" providerId="Windows Live" clId="Web-{87EC33F8-20F9-4A9B-8B0C-47C86D280FAD}" dt="2020-11-23T10:30:41.982" v="1026"/>
          <ac:spMkLst>
            <pc:docMk/>
            <pc:sldMk cId="2372930145" sldId="337"/>
            <ac:spMk id="105" creationId="{3AC794CA-AA8F-467F-847C-62A8604F6D10}"/>
          </ac:spMkLst>
        </pc:spChg>
        <pc:spChg chg="mod">
          <ac:chgData name="Zenos Zenica" userId="de3ee720dba36952" providerId="Windows Live" clId="Web-{87EC33F8-20F9-4A9B-8B0C-47C86D280FAD}" dt="2020-11-23T09:54:39.797" v="584"/>
          <ac:spMkLst>
            <pc:docMk/>
            <pc:sldMk cId="2372930145" sldId="337"/>
            <ac:spMk id="106" creationId="{6077AAAB-6C6F-41AC-A2C2-4FCA395DCE30}"/>
          </ac:spMkLst>
        </pc:spChg>
        <pc:spChg chg="mod">
          <ac:chgData name="Zenos Zenica" userId="de3ee720dba36952" providerId="Windows Live" clId="Web-{87EC33F8-20F9-4A9B-8B0C-47C86D280FAD}" dt="2020-11-23T09:54:39.812" v="585"/>
          <ac:spMkLst>
            <pc:docMk/>
            <pc:sldMk cId="2372930145" sldId="337"/>
            <ac:spMk id="107" creationId="{4744A9A4-8AC4-46A6-A784-861EFD07F2F9}"/>
          </ac:spMkLst>
        </pc:spChg>
        <pc:spChg chg="mod">
          <ac:chgData name="Zenos Zenica" userId="de3ee720dba36952" providerId="Windows Live" clId="Web-{87EC33F8-20F9-4A9B-8B0C-47C86D280FAD}" dt="2020-11-23T09:54:39.828" v="586"/>
          <ac:spMkLst>
            <pc:docMk/>
            <pc:sldMk cId="2372930145" sldId="337"/>
            <ac:spMk id="108" creationId="{8EAB3F3E-2F7F-4ED6-9B87-30E73612FAA7}"/>
          </ac:spMkLst>
        </pc:spChg>
        <pc:spChg chg="mod">
          <ac:chgData name="Zenos Zenica" userId="de3ee720dba36952" providerId="Windows Live" clId="Web-{87EC33F8-20F9-4A9B-8B0C-47C86D280FAD}" dt="2020-11-23T09:54:39.843" v="587"/>
          <ac:spMkLst>
            <pc:docMk/>
            <pc:sldMk cId="2372930145" sldId="337"/>
            <ac:spMk id="109" creationId="{EA1FDA2C-E256-484F-8B31-C3222332BA30}"/>
          </ac:spMkLst>
        </pc:spChg>
        <pc:spChg chg="mod">
          <ac:chgData name="Zenos Zenica" userId="de3ee720dba36952" providerId="Windows Live" clId="Web-{87EC33F8-20F9-4A9B-8B0C-47C86D280FAD}" dt="2020-11-23T09:54:39.859" v="588"/>
          <ac:spMkLst>
            <pc:docMk/>
            <pc:sldMk cId="2372930145" sldId="337"/>
            <ac:spMk id="110" creationId="{66ECA8CB-E40F-470C-A49A-76ACABC7E6B1}"/>
          </ac:spMkLst>
        </pc:spChg>
        <pc:spChg chg="mod">
          <ac:chgData name="Zenos Zenica" userId="de3ee720dba36952" providerId="Windows Live" clId="Web-{87EC33F8-20F9-4A9B-8B0C-47C86D280FAD}" dt="2020-11-23T09:54:39.875" v="589"/>
          <ac:spMkLst>
            <pc:docMk/>
            <pc:sldMk cId="2372930145" sldId="337"/>
            <ac:spMk id="111" creationId="{0C89E7C0-182C-404B-9454-B71D6F489831}"/>
          </ac:spMkLst>
        </pc:spChg>
        <pc:spChg chg="mod">
          <ac:chgData name="Zenos Zenica" userId="de3ee720dba36952" providerId="Windows Live" clId="Web-{87EC33F8-20F9-4A9B-8B0C-47C86D280FAD}" dt="2020-11-23T09:54:39.890" v="590"/>
          <ac:spMkLst>
            <pc:docMk/>
            <pc:sldMk cId="2372930145" sldId="337"/>
            <ac:spMk id="112" creationId="{371C5938-9B5D-49E4-A68A-2D02D9397766}"/>
          </ac:spMkLst>
        </pc:spChg>
        <pc:spChg chg="mod">
          <ac:chgData name="Zenos Zenica" userId="de3ee720dba36952" providerId="Windows Live" clId="Web-{87EC33F8-20F9-4A9B-8B0C-47C86D280FAD}" dt="2020-11-23T09:54:52.531" v="596" actId="1076"/>
          <ac:spMkLst>
            <pc:docMk/>
            <pc:sldMk cId="2372930145" sldId="337"/>
            <ac:spMk id="113" creationId="{54DA122E-6EFC-4230-AE94-0D5A8D6F16C6}"/>
          </ac:spMkLst>
        </pc:spChg>
        <pc:spChg chg="mod">
          <ac:chgData name="Zenos Zenica" userId="de3ee720dba36952" providerId="Windows Live" clId="Web-{87EC33F8-20F9-4A9B-8B0C-47C86D280FAD}" dt="2020-11-23T09:54:39.937" v="592"/>
          <ac:spMkLst>
            <pc:docMk/>
            <pc:sldMk cId="2372930145" sldId="337"/>
            <ac:spMk id="114" creationId="{020F18B5-9864-4AA1-9741-33FF5BD2D559}"/>
          </ac:spMkLst>
        </pc:spChg>
        <pc:spChg chg="mod">
          <ac:chgData name="Zenos Zenica" userId="de3ee720dba36952" providerId="Windows Live" clId="Web-{87EC33F8-20F9-4A9B-8B0C-47C86D280FAD}" dt="2020-11-23T09:54:39.953" v="593"/>
          <ac:spMkLst>
            <pc:docMk/>
            <pc:sldMk cId="2372930145" sldId="337"/>
            <ac:spMk id="115" creationId="{F268F469-D081-44C4-B2AA-5CDD99B51C2A}"/>
          </ac:spMkLst>
        </pc:spChg>
        <pc:spChg chg="mod">
          <ac:chgData name="Zenos Zenica" userId="de3ee720dba36952" providerId="Windows Live" clId="Web-{87EC33F8-20F9-4A9B-8B0C-47C86D280FAD}" dt="2020-11-23T09:54:39.968" v="594"/>
          <ac:spMkLst>
            <pc:docMk/>
            <pc:sldMk cId="2372930145" sldId="337"/>
            <ac:spMk id="116" creationId="{7499E1F9-F85E-467B-B487-835BC3AF8BBF}"/>
          </ac:spMkLst>
        </pc:spChg>
        <pc:spChg chg="mod">
          <ac:chgData name="Zenos Zenica" userId="de3ee720dba36952" providerId="Windows Live" clId="Web-{87EC33F8-20F9-4A9B-8B0C-47C86D280FAD}" dt="2020-11-23T09:54:39.984" v="595"/>
          <ac:spMkLst>
            <pc:docMk/>
            <pc:sldMk cId="2372930145" sldId="337"/>
            <ac:spMk id="117" creationId="{9B6E41B4-4AA6-484F-97E5-FF927B991270}"/>
          </ac:spMkLst>
        </pc:spChg>
      </pc:sldChg>
      <pc:sldChg chg="modSp add del">
        <pc:chgData name="Zenos Zenica" userId="de3ee720dba36952" providerId="Windows Live" clId="Web-{87EC33F8-20F9-4A9B-8B0C-47C86D280FAD}" dt="2020-11-23T10:01:28.575" v="809"/>
        <pc:sldMkLst>
          <pc:docMk/>
          <pc:sldMk cId="3339269484" sldId="338"/>
        </pc:sldMkLst>
        <pc:spChg chg="mod">
          <ac:chgData name="Zenos Zenica" userId="de3ee720dba36952" providerId="Windows Live" clId="Web-{87EC33F8-20F9-4A9B-8B0C-47C86D280FAD}" dt="2020-11-23T09:56:58.316" v="701" actId="14100"/>
          <ac:spMkLst>
            <pc:docMk/>
            <pc:sldMk cId="3339269484" sldId="338"/>
            <ac:spMk id="4" creationId="{B8CB9108-1583-4A1C-846B-3263D00D0833}"/>
          </ac:spMkLst>
        </pc:spChg>
        <pc:spChg chg="mod">
          <ac:chgData name="Zenos Zenica" userId="de3ee720dba36952" providerId="Windows Live" clId="Web-{87EC33F8-20F9-4A9B-8B0C-47C86D280FAD}" dt="2020-11-23T09:57:12.113" v="702" actId="1076"/>
          <ac:spMkLst>
            <pc:docMk/>
            <pc:sldMk cId="3339269484" sldId="338"/>
            <ac:spMk id="5" creationId="{CF6E12EC-3064-424E-99AB-27EF93034598}"/>
          </ac:spMkLst>
        </pc:spChg>
        <pc:spChg chg="mod">
          <ac:chgData name="Zenos Zenica" userId="de3ee720dba36952" providerId="Windows Live" clId="Web-{87EC33F8-20F9-4A9B-8B0C-47C86D280FAD}" dt="2020-11-23T09:57:12.129" v="703" actId="1076"/>
          <ac:spMkLst>
            <pc:docMk/>
            <pc:sldMk cId="3339269484" sldId="338"/>
            <ac:spMk id="6" creationId="{7AFD10B8-A55E-493C-B803-0909E20D1ADC}"/>
          </ac:spMkLst>
        </pc:spChg>
        <pc:spChg chg="mod">
          <ac:chgData name="Zenos Zenica" userId="de3ee720dba36952" providerId="Windows Live" clId="Web-{87EC33F8-20F9-4A9B-8B0C-47C86D280FAD}" dt="2020-11-23T09:57:12.176" v="705" actId="1076"/>
          <ac:spMkLst>
            <pc:docMk/>
            <pc:sldMk cId="3339269484" sldId="338"/>
            <ac:spMk id="8" creationId="{A5EC3197-DC2C-4E82-858E-870868436FA4}"/>
          </ac:spMkLst>
        </pc:spChg>
        <pc:spChg chg="mod">
          <ac:chgData name="Zenos Zenica" userId="de3ee720dba36952" providerId="Windows Live" clId="Web-{87EC33F8-20F9-4A9B-8B0C-47C86D280FAD}" dt="2020-11-23T09:57:12.191" v="706" actId="1076"/>
          <ac:spMkLst>
            <pc:docMk/>
            <pc:sldMk cId="3339269484" sldId="338"/>
            <ac:spMk id="9" creationId="{7926C7F8-FD8D-412D-934E-84DD69B312B5}"/>
          </ac:spMkLst>
        </pc:spChg>
        <pc:spChg chg="mod">
          <ac:chgData name="Zenos Zenica" userId="de3ee720dba36952" providerId="Windows Live" clId="Web-{87EC33F8-20F9-4A9B-8B0C-47C86D280FAD}" dt="2020-11-23T09:57:12.223" v="707" actId="1076"/>
          <ac:spMkLst>
            <pc:docMk/>
            <pc:sldMk cId="3339269484" sldId="338"/>
            <ac:spMk id="11" creationId="{3A5594C2-1E3E-4291-9129-C3A085C3DA8E}"/>
          </ac:spMkLst>
        </pc:spChg>
        <pc:spChg chg="mod">
          <ac:chgData name="Zenos Zenica" userId="de3ee720dba36952" providerId="Windows Live" clId="Web-{87EC33F8-20F9-4A9B-8B0C-47C86D280FAD}" dt="2020-11-23T09:57:37.833" v="769"/>
          <ac:spMkLst>
            <pc:docMk/>
            <pc:sldMk cId="3339269484" sldId="338"/>
            <ac:spMk id="12" creationId="{4CA5A7F4-79DA-4F54-9C1A-80DB48EE45CC}"/>
          </ac:spMkLst>
        </pc:spChg>
        <pc:spChg chg="mod">
          <ac:chgData name="Zenos Zenica" userId="de3ee720dba36952" providerId="Windows Live" clId="Web-{87EC33F8-20F9-4A9B-8B0C-47C86D280FAD}" dt="2020-11-23T09:57:37.770" v="766"/>
          <ac:spMkLst>
            <pc:docMk/>
            <pc:sldMk cId="3339269484" sldId="338"/>
            <ac:spMk id="13" creationId="{3D92640E-971F-4EF2-A920-262094760C77}"/>
          </ac:spMkLst>
        </pc:spChg>
        <pc:spChg chg="mod">
          <ac:chgData name="Zenos Zenica" userId="de3ee720dba36952" providerId="Windows Live" clId="Web-{87EC33F8-20F9-4A9B-8B0C-47C86D280FAD}" dt="2020-11-23T09:57:37.864" v="770"/>
          <ac:spMkLst>
            <pc:docMk/>
            <pc:sldMk cId="3339269484" sldId="338"/>
            <ac:spMk id="14" creationId="{A6B27BEF-B0BE-46C8-9F9C-DA90B7BA119B}"/>
          </ac:spMkLst>
        </pc:spChg>
        <pc:spChg chg="mod">
          <ac:chgData name="Zenos Zenica" userId="de3ee720dba36952" providerId="Windows Live" clId="Web-{87EC33F8-20F9-4A9B-8B0C-47C86D280FAD}" dt="2020-11-23T09:57:37.895" v="771"/>
          <ac:spMkLst>
            <pc:docMk/>
            <pc:sldMk cId="3339269484" sldId="338"/>
            <ac:spMk id="15" creationId="{C9955025-9C8B-4B84-8FFE-EB55C634A7C8}"/>
          </ac:spMkLst>
        </pc:spChg>
        <pc:spChg chg="mod">
          <ac:chgData name="Zenos Zenica" userId="de3ee720dba36952" providerId="Windows Live" clId="Web-{87EC33F8-20F9-4A9B-8B0C-47C86D280FAD}" dt="2020-11-23T09:57:37.911" v="772"/>
          <ac:spMkLst>
            <pc:docMk/>
            <pc:sldMk cId="3339269484" sldId="338"/>
            <ac:spMk id="16" creationId="{7F4DD27C-E5D1-4062-B8A8-137F33C55EA7}"/>
          </ac:spMkLst>
        </pc:spChg>
        <pc:spChg chg="mod">
          <ac:chgData name="Zenos Zenica" userId="de3ee720dba36952" providerId="Windows Live" clId="Web-{87EC33F8-20F9-4A9B-8B0C-47C86D280FAD}" dt="2020-11-23T09:57:37.942" v="773"/>
          <ac:spMkLst>
            <pc:docMk/>
            <pc:sldMk cId="3339269484" sldId="338"/>
            <ac:spMk id="17" creationId="{D32FF549-170C-4C50-9807-AF048FB42FD1}"/>
          </ac:spMkLst>
        </pc:spChg>
        <pc:spChg chg="mod">
          <ac:chgData name="Zenos Zenica" userId="de3ee720dba36952" providerId="Windows Live" clId="Web-{87EC33F8-20F9-4A9B-8B0C-47C86D280FAD}" dt="2020-11-23T09:59:00.164" v="795" actId="1076"/>
          <ac:spMkLst>
            <pc:docMk/>
            <pc:sldMk cId="3339269484" sldId="338"/>
            <ac:spMk id="18" creationId="{F2E7F9C6-4FF5-4F56-AE82-6D243BD5BAF0}"/>
          </ac:spMkLst>
        </pc:spChg>
        <pc:spChg chg="mod">
          <ac:chgData name="Zenos Zenica" userId="de3ee720dba36952" providerId="Windows Live" clId="Web-{87EC33F8-20F9-4A9B-8B0C-47C86D280FAD}" dt="2020-11-23T09:59:23.274" v="796" actId="1076"/>
          <ac:spMkLst>
            <pc:docMk/>
            <pc:sldMk cId="3339269484" sldId="338"/>
            <ac:spMk id="19" creationId="{EDB86EC3-2D25-4E95-A0D2-817022D7628E}"/>
          </ac:spMkLst>
        </pc:spChg>
        <pc:spChg chg="mod">
          <ac:chgData name="Zenos Zenica" userId="de3ee720dba36952" providerId="Windows Live" clId="Web-{87EC33F8-20F9-4A9B-8B0C-47C86D280FAD}" dt="2020-11-23T09:57:37.786" v="767"/>
          <ac:spMkLst>
            <pc:docMk/>
            <pc:sldMk cId="3339269484" sldId="338"/>
            <ac:spMk id="31" creationId="{541219AF-7231-4D85-AEEA-84AB564D7731}"/>
          </ac:spMkLst>
        </pc:spChg>
        <pc:spChg chg="mod">
          <ac:chgData name="Zenos Zenica" userId="de3ee720dba36952" providerId="Windows Live" clId="Web-{87EC33F8-20F9-4A9B-8B0C-47C86D280FAD}" dt="2020-11-23T09:57:38.020" v="776"/>
          <ac:spMkLst>
            <pc:docMk/>
            <pc:sldMk cId="3339269484" sldId="338"/>
            <ac:spMk id="32" creationId="{EA0BC6A4-4511-49F4-AAAC-3EDC0F0ECDF7}"/>
          </ac:spMkLst>
        </pc:spChg>
        <pc:spChg chg="mod">
          <ac:chgData name="Zenos Zenica" userId="de3ee720dba36952" providerId="Windows Live" clId="Web-{87EC33F8-20F9-4A9B-8B0C-47C86D280FAD}" dt="2020-11-23T09:57:37.817" v="768"/>
          <ac:spMkLst>
            <pc:docMk/>
            <pc:sldMk cId="3339269484" sldId="338"/>
            <ac:spMk id="33" creationId="{AF55BD10-3706-4355-B254-BEEDFC25B39B}"/>
          </ac:spMkLst>
        </pc:spChg>
        <pc:spChg chg="mod">
          <ac:chgData name="Zenos Zenica" userId="de3ee720dba36952" providerId="Windows Live" clId="Web-{87EC33F8-20F9-4A9B-8B0C-47C86D280FAD}" dt="2020-11-23T09:57:38.036" v="777"/>
          <ac:spMkLst>
            <pc:docMk/>
            <pc:sldMk cId="3339269484" sldId="338"/>
            <ac:spMk id="34" creationId="{69EBEA4B-F480-40C6-8763-63BCBFB0B2EE}"/>
          </ac:spMkLst>
        </pc:spChg>
        <pc:spChg chg="mod">
          <ac:chgData name="Zenos Zenica" userId="de3ee720dba36952" providerId="Windows Live" clId="Web-{87EC33F8-20F9-4A9B-8B0C-47C86D280FAD}" dt="2020-11-23T09:57:38.067" v="778"/>
          <ac:spMkLst>
            <pc:docMk/>
            <pc:sldMk cId="3339269484" sldId="338"/>
            <ac:spMk id="35" creationId="{CD656288-28BA-4D67-9430-3E342764AA04}"/>
          </ac:spMkLst>
        </pc:spChg>
        <pc:spChg chg="mod">
          <ac:chgData name="Zenos Zenica" userId="de3ee720dba36952" providerId="Windows Live" clId="Web-{87EC33F8-20F9-4A9B-8B0C-47C86D280FAD}" dt="2020-11-23T09:57:38.098" v="779"/>
          <ac:spMkLst>
            <pc:docMk/>
            <pc:sldMk cId="3339269484" sldId="338"/>
            <ac:spMk id="36" creationId="{A1BD55F8-211E-4282-A9EF-9E433E8858F2}"/>
          </ac:spMkLst>
        </pc:spChg>
        <pc:spChg chg="mod">
          <ac:chgData name="Zenos Zenica" userId="de3ee720dba36952" providerId="Windows Live" clId="Web-{87EC33F8-20F9-4A9B-8B0C-47C86D280FAD}" dt="2020-11-23T09:57:38.114" v="780"/>
          <ac:spMkLst>
            <pc:docMk/>
            <pc:sldMk cId="3339269484" sldId="338"/>
            <ac:spMk id="37" creationId="{A3F0BEAD-3DCB-4B2B-A045-88A5FF4A7EA2}"/>
          </ac:spMkLst>
        </pc:spChg>
        <pc:spChg chg="mod">
          <ac:chgData name="Zenos Zenica" userId="de3ee720dba36952" providerId="Windows Live" clId="Web-{87EC33F8-20F9-4A9B-8B0C-47C86D280FAD}" dt="2020-11-23T09:57:38.145" v="781"/>
          <ac:spMkLst>
            <pc:docMk/>
            <pc:sldMk cId="3339269484" sldId="338"/>
            <ac:spMk id="38" creationId="{66E5971D-93E9-4F8B-AE27-23B099D5AD33}"/>
          </ac:spMkLst>
        </pc:spChg>
        <pc:spChg chg="mod">
          <ac:chgData name="Zenos Zenica" userId="de3ee720dba36952" providerId="Windows Live" clId="Web-{87EC33F8-20F9-4A9B-8B0C-47C86D280FAD}" dt="2020-11-23T09:57:38.177" v="782"/>
          <ac:spMkLst>
            <pc:docMk/>
            <pc:sldMk cId="3339269484" sldId="338"/>
            <ac:spMk id="39" creationId="{A6410869-2043-4D10-97B2-0624AF83C68C}"/>
          </ac:spMkLst>
        </pc:spChg>
        <pc:spChg chg="mod">
          <ac:chgData name="Zenos Zenica" userId="de3ee720dba36952" providerId="Windows Live" clId="Web-{87EC33F8-20F9-4A9B-8B0C-47C86D280FAD}" dt="2020-11-23T09:57:38.192" v="783"/>
          <ac:spMkLst>
            <pc:docMk/>
            <pc:sldMk cId="3339269484" sldId="338"/>
            <ac:spMk id="40" creationId="{4F4EB2D6-AD44-4BA5-BADC-A0A930AFB7C7}"/>
          </ac:spMkLst>
        </pc:spChg>
        <pc:spChg chg="mod">
          <ac:chgData name="Zenos Zenica" userId="de3ee720dba36952" providerId="Windows Live" clId="Web-{87EC33F8-20F9-4A9B-8B0C-47C86D280FAD}" dt="2020-11-23T09:57:38.223" v="784"/>
          <ac:spMkLst>
            <pc:docMk/>
            <pc:sldMk cId="3339269484" sldId="338"/>
            <ac:spMk id="41" creationId="{433EC9BD-65B1-4D37-B427-D8FB4F315BB9}"/>
          </ac:spMkLst>
        </pc:spChg>
        <pc:spChg chg="mod">
          <ac:chgData name="Zenos Zenica" userId="de3ee720dba36952" providerId="Windows Live" clId="Web-{87EC33F8-20F9-4A9B-8B0C-47C86D280FAD}" dt="2020-11-23T09:57:38.239" v="785"/>
          <ac:spMkLst>
            <pc:docMk/>
            <pc:sldMk cId="3339269484" sldId="338"/>
            <ac:spMk id="42" creationId="{4BECA545-7965-49FB-B838-1397AEE572F8}"/>
          </ac:spMkLst>
        </pc:spChg>
        <pc:spChg chg="mod">
          <ac:chgData name="Zenos Zenica" userId="de3ee720dba36952" providerId="Windows Live" clId="Web-{87EC33F8-20F9-4A9B-8B0C-47C86D280FAD}" dt="2020-11-23T09:57:38.270" v="786"/>
          <ac:spMkLst>
            <pc:docMk/>
            <pc:sldMk cId="3339269484" sldId="338"/>
            <ac:spMk id="43" creationId="{723CDEF9-51B3-4030-8645-A97C2414595B}"/>
          </ac:spMkLst>
        </pc:spChg>
        <pc:spChg chg="mod">
          <ac:chgData name="Zenos Zenica" userId="de3ee720dba36952" providerId="Windows Live" clId="Web-{87EC33F8-20F9-4A9B-8B0C-47C86D280FAD}" dt="2020-11-23T09:57:38.302" v="787"/>
          <ac:spMkLst>
            <pc:docMk/>
            <pc:sldMk cId="3339269484" sldId="338"/>
            <ac:spMk id="44" creationId="{BDB70FC9-AFAF-4C13-8EC0-2CCCFE3A839A}"/>
          </ac:spMkLst>
        </pc:spChg>
        <pc:spChg chg="mod">
          <ac:chgData name="Zenos Zenica" userId="de3ee720dba36952" providerId="Windows Live" clId="Web-{87EC33F8-20F9-4A9B-8B0C-47C86D280FAD}" dt="2020-11-23T09:57:38.333" v="788"/>
          <ac:spMkLst>
            <pc:docMk/>
            <pc:sldMk cId="3339269484" sldId="338"/>
            <ac:spMk id="45" creationId="{24DE69D9-CB2E-4B15-A171-A1C731F20958}"/>
          </ac:spMkLst>
        </pc:spChg>
        <pc:spChg chg="mod">
          <ac:chgData name="Zenos Zenica" userId="de3ee720dba36952" providerId="Windows Live" clId="Web-{87EC33F8-20F9-4A9B-8B0C-47C86D280FAD}" dt="2020-11-23T09:57:38.348" v="789"/>
          <ac:spMkLst>
            <pc:docMk/>
            <pc:sldMk cId="3339269484" sldId="338"/>
            <ac:spMk id="46" creationId="{271FAAC0-6CFD-43AD-840A-DF329A02722A}"/>
          </ac:spMkLst>
        </pc:spChg>
        <pc:spChg chg="mod">
          <ac:chgData name="Zenos Zenica" userId="de3ee720dba36952" providerId="Windows Live" clId="Web-{87EC33F8-20F9-4A9B-8B0C-47C86D280FAD}" dt="2020-11-23T09:57:38.380" v="790"/>
          <ac:spMkLst>
            <pc:docMk/>
            <pc:sldMk cId="3339269484" sldId="338"/>
            <ac:spMk id="47" creationId="{4E90BEB9-2F27-4213-A751-C4144271E858}"/>
          </ac:spMkLst>
        </pc:spChg>
        <pc:cxnChg chg="mod">
          <ac:chgData name="Zenos Zenica" userId="de3ee720dba36952" providerId="Windows Live" clId="Web-{87EC33F8-20F9-4A9B-8B0C-47C86D280FAD}" dt="2020-11-23T09:57:12.145" v="704" actId="1076"/>
          <ac:cxnSpMkLst>
            <pc:docMk/>
            <pc:sldMk cId="3339269484" sldId="338"/>
            <ac:cxnSpMk id="7" creationId="{603779D5-5B18-48BC-94DA-0EF1783FE7BF}"/>
          </ac:cxnSpMkLst>
        </pc:cxnChg>
        <pc:cxnChg chg="mod">
          <ac:chgData name="Zenos Zenica" userId="de3ee720dba36952" providerId="Windows Live" clId="Web-{87EC33F8-20F9-4A9B-8B0C-47C86D280FAD}" dt="2020-11-23T10:00:54.980" v="804" actId="14100"/>
          <ac:cxnSpMkLst>
            <pc:docMk/>
            <pc:sldMk cId="3339269484" sldId="338"/>
            <ac:cxnSpMk id="20" creationId="{5AEF793C-7643-4AB8-A064-B13AB4AECAD4}"/>
          </ac:cxnSpMkLst>
        </pc:cxnChg>
        <pc:cxnChg chg="mod">
          <ac:chgData name="Zenos Zenica" userId="de3ee720dba36952" providerId="Windows Live" clId="Web-{87EC33F8-20F9-4A9B-8B0C-47C86D280FAD}" dt="2020-11-23T10:00:58.589" v="805" actId="14100"/>
          <ac:cxnSpMkLst>
            <pc:docMk/>
            <pc:sldMk cId="3339269484" sldId="338"/>
            <ac:cxnSpMk id="21" creationId="{E4FF55ED-CFC1-4C92-BD68-5EDBB930BFE7}"/>
          </ac:cxnSpMkLst>
        </pc:cxnChg>
        <pc:cxnChg chg="mod">
          <ac:chgData name="Zenos Zenica" userId="de3ee720dba36952" providerId="Windows Live" clId="Web-{87EC33F8-20F9-4A9B-8B0C-47C86D280FAD}" dt="2020-11-23T10:01:05.215" v="807" actId="14100"/>
          <ac:cxnSpMkLst>
            <pc:docMk/>
            <pc:sldMk cId="3339269484" sldId="338"/>
            <ac:cxnSpMk id="22" creationId="{8F597672-0665-4195-A210-D7632E3B8951}"/>
          </ac:cxnSpMkLst>
        </pc:cxnChg>
        <pc:cxnChg chg="mod">
          <ac:chgData name="Zenos Zenica" userId="de3ee720dba36952" providerId="Windows Live" clId="Web-{87EC33F8-20F9-4A9B-8B0C-47C86D280FAD}" dt="2020-11-23T10:00:50.245" v="803" actId="14100"/>
          <ac:cxnSpMkLst>
            <pc:docMk/>
            <pc:sldMk cId="3339269484" sldId="338"/>
            <ac:cxnSpMk id="23" creationId="{5325C71B-D438-4169-81DC-B8D92B0C4F9B}"/>
          </ac:cxnSpMkLst>
        </pc:cxnChg>
        <pc:cxnChg chg="mod">
          <ac:chgData name="Zenos Zenica" userId="de3ee720dba36952" providerId="Windows Live" clId="Web-{87EC33F8-20F9-4A9B-8B0C-47C86D280FAD}" dt="2020-11-23T09:57:12.535" v="720" actId="1076"/>
          <ac:cxnSpMkLst>
            <pc:docMk/>
            <pc:sldMk cId="3339269484" sldId="338"/>
            <ac:cxnSpMk id="24" creationId="{1828C4E9-0FD4-475F-BD87-23EC688AAD27}"/>
          </ac:cxnSpMkLst>
        </pc:cxnChg>
        <pc:cxnChg chg="mod">
          <ac:chgData name="Zenos Zenica" userId="de3ee720dba36952" providerId="Windows Live" clId="Web-{87EC33F8-20F9-4A9B-8B0C-47C86D280FAD}" dt="2020-11-23T09:57:12.551" v="721" actId="1076"/>
          <ac:cxnSpMkLst>
            <pc:docMk/>
            <pc:sldMk cId="3339269484" sldId="338"/>
            <ac:cxnSpMk id="25" creationId="{EE8435AB-358C-4DA9-94CC-5D9D0EC43299}"/>
          </ac:cxnSpMkLst>
        </pc:cxnChg>
        <pc:cxnChg chg="mod">
          <ac:chgData name="Zenos Zenica" userId="de3ee720dba36952" providerId="Windows Live" clId="Web-{87EC33F8-20F9-4A9B-8B0C-47C86D280FAD}" dt="2020-11-23T09:57:12.566" v="722" actId="1076"/>
          <ac:cxnSpMkLst>
            <pc:docMk/>
            <pc:sldMk cId="3339269484" sldId="338"/>
            <ac:cxnSpMk id="26" creationId="{74AF5596-0F4E-4927-A373-C83AB7B182AB}"/>
          </ac:cxnSpMkLst>
        </pc:cxnChg>
        <pc:cxnChg chg="mod">
          <ac:chgData name="Zenos Zenica" userId="de3ee720dba36952" providerId="Windows Live" clId="Web-{87EC33F8-20F9-4A9B-8B0C-47C86D280FAD}" dt="2020-11-23T09:57:12.598" v="723" actId="1076"/>
          <ac:cxnSpMkLst>
            <pc:docMk/>
            <pc:sldMk cId="3339269484" sldId="338"/>
            <ac:cxnSpMk id="27" creationId="{5FA714B1-84F5-4F20-9CDE-5E1D3E206DBC}"/>
          </ac:cxnSpMkLst>
        </pc:cxnChg>
        <pc:cxnChg chg="mod">
          <ac:chgData name="Zenos Zenica" userId="de3ee720dba36952" providerId="Windows Live" clId="Web-{87EC33F8-20F9-4A9B-8B0C-47C86D280FAD}" dt="2020-11-23T09:57:12.613" v="724" actId="1076"/>
          <ac:cxnSpMkLst>
            <pc:docMk/>
            <pc:sldMk cId="3339269484" sldId="338"/>
            <ac:cxnSpMk id="28" creationId="{2C8168A5-670E-423A-BE63-D562F301A42F}"/>
          </ac:cxnSpMkLst>
        </pc:cxnChg>
        <pc:cxnChg chg="mod">
          <ac:chgData name="Zenos Zenica" userId="de3ee720dba36952" providerId="Windows Live" clId="Web-{87EC33F8-20F9-4A9B-8B0C-47C86D280FAD}" dt="2020-11-23T09:56:11.768" v="678" actId="1076"/>
          <ac:cxnSpMkLst>
            <pc:docMk/>
            <pc:sldMk cId="3339269484" sldId="338"/>
            <ac:cxnSpMk id="29" creationId="{13B092AE-FC8C-47FC-BC0B-063B5FCE2355}"/>
          </ac:cxnSpMkLst>
        </pc:cxnChg>
        <pc:cxnChg chg="mod">
          <ac:chgData name="Zenos Zenica" userId="de3ee720dba36952" providerId="Windows Live" clId="Web-{87EC33F8-20F9-4A9B-8B0C-47C86D280FAD}" dt="2020-11-23T09:56:11.799" v="679" actId="1076"/>
          <ac:cxnSpMkLst>
            <pc:docMk/>
            <pc:sldMk cId="3339269484" sldId="338"/>
            <ac:cxnSpMk id="30" creationId="{6F5038EE-DD07-455F-B13D-D39553987A31}"/>
          </ac:cxnSpMkLst>
        </pc:cxnChg>
        <pc:cxnChg chg="mod">
          <ac:chgData name="Zenos Zenica" userId="de3ee720dba36952" providerId="Windows Live" clId="Web-{87EC33F8-20F9-4A9B-8B0C-47C86D280FAD}" dt="2020-11-23T09:57:13.051" v="742" actId="1076"/>
          <ac:cxnSpMkLst>
            <pc:docMk/>
            <pc:sldMk cId="3339269484" sldId="338"/>
            <ac:cxnSpMk id="86" creationId="{984B88F0-B36A-40C8-9C6B-15511BDFF620}"/>
          </ac:cxnSpMkLst>
        </pc:cxnChg>
        <pc:cxnChg chg="mod">
          <ac:chgData name="Zenos Zenica" userId="de3ee720dba36952" providerId="Windows Live" clId="Web-{87EC33F8-20F9-4A9B-8B0C-47C86D280FAD}" dt="2020-11-23T09:57:13.066" v="743" actId="1076"/>
          <ac:cxnSpMkLst>
            <pc:docMk/>
            <pc:sldMk cId="3339269484" sldId="338"/>
            <ac:cxnSpMk id="97" creationId="{94E2AD73-98BA-4F73-B917-257DDBEE707E}"/>
          </ac:cxnSpMkLst>
        </pc:cxnChg>
      </pc:sldChg>
      <pc:sldChg chg="modSp add">
        <pc:chgData name="Zenos Zenica" userId="de3ee720dba36952" providerId="Windows Live" clId="Web-{87EC33F8-20F9-4A9B-8B0C-47C86D280FAD}" dt="2020-11-23T11:48:47.758" v="1521" actId="20577"/>
        <pc:sldMkLst>
          <pc:docMk/>
          <pc:sldMk cId="2946432182" sldId="339"/>
        </pc:sldMkLst>
        <pc:spChg chg="mod">
          <ac:chgData name="Zenos Zenica" userId="de3ee720dba36952" providerId="Windows Live" clId="Web-{87EC33F8-20F9-4A9B-8B0C-47C86D280FAD}" dt="2020-11-23T10:06:05.254" v="854" actId="1076"/>
          <ac:spMkLst>
            <pc:docMk/>
            <pc:sldMk cId="2946432182" sldId="339"/>
            <ac:spMk id="4" creationId="{B8CB9108-1583-4A1C-846B-3263D00D0833}"/>
          </ac:spMkLst>
        </pc:spChg>
        <pc:spChg chg="mod">
          <ac:chgData name="Zenos Zenica" userId="de3ee720dba36952" providerId="Windows Live" clId="Web-{87EC33F8-20F9-4A9B-8B0C-47C86D280FAD}" dt="2020-11-23T11:48:47.758" v="1521" actId="20577"/>
          <ac:spMkLst>
            <pc:docMk/>
            <pc:sldMk cId="2946432182" sldId="339"/>
            <ac:spMk id="5" creationId="{CF6E12EC-3064-424E-99AB-27EF93034598}"/>
          </ac:spMkLst>
        </pc:spChg>
        <pc:spChg chg="mod">
          <ac:chgData name="Zenos Zenica" userId="de3ee720dba36952" providerId="Windows Live" clId="Web-{87EC33F8-20F9-4A9B-8B0C-47C86D280FAD}" dt="2020-11-23T11:48:40.898" v="1520" actId="20577"/>
          <ac:spMkLst>
            <pc:docMk/>
            <pc:sldMk cId="2946432182" sldId="339"/>
            <ac:spMk id="49" creationId="{F6313C2A-A173-48F9-B296-F2E25D12908F}"/>
          </ac:spMkLst>
        </pc:spChg>
        <pc:spChg chg="mod">
          <ac:chgData name="Zenos Zenica" userId="de3ee720dba36952" providerId="Windows Live" clId="Web-{87EC33F8-20F9-4A9B-8B0C-47C86D280FAD}" dt="2020-11-23T11:48:36.132" v="1519" actId="20577"/>
          <ac:spMkLst>
            <pc:docMk/>
            <pc:sldMk cId="2946432182" sldId="339"/>
            <ac:spMk id="50" creationId="{3BF69443-F382-4888-B9D3-6A5DFD9B0C83}"/>
          </ac:spMkLst>
        </pc:spChg>
        <pc:spChg chg="mod">
          <ac:chgData name="Zenos Zenica" userId="de3ee720dba36952" providerId="Windows Live" clId="Web-{87EC33F8-20F9-4A9B-8B0C-47C86D280FAD}" dt="2020-11-23T11:46:51.020" v="1507" actId="14100"/>
          <ac:spMkLst>
            <pc:docMk/>
            <pc:sldMk cId="2946432182" sldId="339"/>
            <ac:spMk id="51" creationId="{E87835AB-937C-4B61-A780-46F0B814AF1C}"/>
          </ac:spMkLst>
        </pc:spChg>
        <pc:spChg chg="mod">
          <ac:chgData name="Zenos Zenica" userId="de3ee720dba36952" providerId="Windows Live" clId="Web-{87EC33F8-20F9-4A9B-8B0C-47C86D280FAD}" dt="2020-11-23T11:46:48.208" v="1506" actId="14100"/>
          <ac:spMkLst>
            <pc:docMk/>
            <pc:sldMk cId="2946432182" sldId="339"/>
            <ac:spMk id="52" creationId="{20D934C4-EC05-441C-A2E0-DC6DA1643DD4}"/>
          </ac:spMkLst>
        </pc:spChg>
        <pc:spChg chg="mod">
          <ac:chgData name="Zenos Zenica" userId="de3ee720dba36952" providerId="Windows Live" clId="Web-{87EC33F8-20F9-4A9B-8B0C-47C86D280FAD}" dt="2020-11-23T11:46:43.926" v="1505" actId="14100"/>
          <ac:spMkLst>
            <pc:docMk/>
            <pc:sldMk cId="2946432182" sldId="339"/>
            <ac:spMk id="53" creationId="{D2B2C36F-4CBC-4513-B303-9866FF356EEC}"/>
          </ac:spMkLst>
        </pc:spChg>
        <pc:spChg chg="mod">
          <ac:chgData name="Zenos Zenica" userId="de3ee720dba36952" providerId="Windows Live" clId="Web-{87EC33F8-20F9-4A9B-8B0C-47C86D280FAD}" dt="2020-11-23T11:48:00.210" v="1514" actId="20577"/>
          <ac:spMkLst>
            <pc:docMk/>
            <pc:sldMk cId="2946432182" sldId="339"/>
            <ac:spMk id="54" creationId="{94EB0462-59E0-413A-9534-0A3F498AA1EE}"/>
          </ac:spMkLst>
        </pc:spChg>
        <pc:spChg chg="mod">
          <ac:chgData name="Zenos Zenica" userId="de3ee720dba36952" providerId="Windows Live" clId="Web-{87EC33F8-20F9-4A9B-8B0C-47C86D280FAD}" dt="2020-11-23T11:48:05.553" v="1515" actId="20577"/>
          <ac:spMkLst>
            <pc:docMk/>
            <pc:sldMk cId="2946432182" sldId="339"/>
            <ac:spMk id="55" creationId="{7421CE5F-EC57-4ECB-8C46-6192C30470D5}"/>
          </ac:spMkLst>
        </pc:spChg>
        <pc:spChg chg="mod">
          <ac:chgData name="Zenos Zenica" userId="de3ee720dba36952" providerId="Windows Live" clId="Web-{87EC33F8-20F9-4A9B-8B0C-47C86D280FAD}" dt="2020-11-23T11:48:11.569" v="1516" actId="20577"/>
          <ac:spMkLst>
            <pc:docMk/>
            <pc:sldMk cId="2946432182" sldId="339"/>
            <ac:spMk id="56" creationId="{CB43238E-BF05-4C71-A60E-76AD72D04798}"/>
          </ac:spMkLst>
        </pc:spChg>
        <pc:spChg chg="mod">
          <ac:chgData name="Zenos Zenica" userId="de3ee720dba36952" providerId="Windows Live" clId="Web-{87EC33F8-20F9-4A9B-8B0C-47C86D280FAD}" dt="2020-11-23T11:48:17.851" v="1517" actId="20577"/>
          <ac:spMkLst>
            <pc:docMk/>
            <pc:sldMk cId="2946432182" sldId="339"/>
            <ac:spMk id="57" creationId="{B9CBDAD9-C1FF-4546-A96F-4B0EE2025BD4}"/>
          </ac:spMkLst>
        </pc:spChg>
        <pc:spChg chg="mod">
          <ac:chgData name="Zenos Zenica" userId="de3ee720dba36952" providerId="Windows Live" clId="Web-{87EC33F8-20F9-4A9B-8B0C-47C86D280FAD}" dt="2020-11-23T10:05:58.926" v="852" actId="20577"/>
          <ac:spMkLst>
            <pc:docMk/>
            <pc:sldMk cId="2946432182" sldId="339"/>
            <ac:spMk id="100" creationId="{56855E61-FBFA-4AA1-AF7A-5645026907FD}"/>
          </ac:spMkLst>
        </pc:spChg>
        <pc:cxnChg chg="mod">
          <ac:chgData name="Zenos Zenica" userId="de3ee720dba36952" providerId="Windows Live" clId="Web-{87EC33F8-20F9-4A9B-8B0C-47C86D280FAD}" dt="2020-11-23T11:46:09.222" v="1500" actId="14100"/>
          <ac:cxnSpMkLst>
            <pc:docMk/>
            <pc:sldMk cId="2946432182" sldId="339"/>
            <ac:cxnSpMk id="61" creationId="{79B2B378-83B9-4B61-8C14-250D32DACF65}"/>
          </ac:cxnSpMkLst>
        </pc:cxnChg>
        <pc:cxnChg chg="mod">
          <ac:chgData name="Zenos Zenica" userId="de3ee720dba36952" providerId="Windows Live" clId="Web-{87EC33F8-20F9-4A9B-8B0C-47C86D280FAD}" dt="2020-11-23T11:45:58.159" v="1499" actId="14100"/>
          <ac:cxnSpMkLst>
            <pc:docMk/>
            <pc:sldMk cId="2946432182" sldId="339"/>
            <ac:cxnSpMk id="64" creationId="{C03B179C-E6B2-4D7C-B8B0-B278C6821ECB}"/>
          </ac:cxnSpMkLst>
        </pc:cxnChg>
        <pc:cxnChg chg="mod">
          <ac:chgData name="Zenos Zenica" userId="de3ee720dba36952" providerId="Windows Live" clId="Web-{87EC33F8-20F9-4A9B-8B0C-47C86D280FAD}" dt="2020-11-23T11:47:51.147" v="1513" actId="14100"/>
          <ac:cxnSpMkLst>
            <pc:docMk/>
            <pc:sldMk cId="2946432182" sldId="339"/>
            <ac:cxnSpMk id="67" creationId="{DF3163E7-A004-449E-8337-4BC1BDAA5800}"/>
          </ac:cxnSpMkLst>
        </pc:cxnChg>
        <pc:cxnChg chg="mod">
          <ac:chgData name="Zenos Zenica" userId="de3ee720dba36952" providerId="Windows Live" clId="Web-{87EC33F8-20F9-4A9B-8B0C-47C86D280FAD}" dt="2020-11-23T11:48:29.523" v="1518" actId="1076"/>
          <ac:cxnSpMkLst>
            <pc:docMk/>
            <pc:sldMk cId="2946432182" sldId="339"/>
            <ac:cxnSpMk id="70" creationId="{3A9B9856-BC87-43C0-BD0A-562B37CE1BDE}"/>
          </ac:cxnSpMkLst>
        </pc:cxnChg>
        <pc:cxnChg chg="mod">
          <ac:chgData name="Zenos Zenica" userId="de3ee720dba36952" providerId="Windows Live" clId="Web-{87EC33F8-20F9-4A9B-8B0C-47C86D280FAD}" dt="2020-11-23T11:46:43.926" v="1505" actId="14100"/>
          <ac:cxnSpMkLst>
            <pc:docMk/>
            <pc:sldMk cId="2946432182" sldId="339"/>
            <ac:cxnSpMk id="74" creationId="{542D386F-A12E-4182-98C2-A04ABB6B5ED5}"/>
          </ac:cxnSpMkLst>
        </pc:cxnChg>
        <pc:cxnChg chg="mod">
          <ac:chgData name="Zenos Zenica" userId="de3ee720dba36952" providerId="Windows Live" clId="Web-{87EC33F8-20F9-4A9B-8B0C-47C86D280FAD}" dt="2020-11-23T11:46:48.208" v="1506" actId="14100"/>
          <ac:cxnSpMkLst>
            <pc:docMk/>
            <pc:sldMk cId="2946432182" sldId="339"/>
            <ac:cxnSpMk id="77" creationId="{79A47B39-EB2F-4994-A1B3-39D0AB823CEC}"/>
          </ac:cxnSpMkLst>
        </pc:cxnChg>
        <pc:cxnChg chg="mod">
          <ac:chgData name="Zenos Zenica" userId="de3ee720dba36952" providerId="Windows Live" clId="Web-{87EC33F8-20F9-4A9B-8B0C-47C86D280FAD}" dt="2020-11-23T11:46:51.020" v="1507" actId="14100"/>
          <ac:cxnSpMkLst>
            <pc:docMk/>
            <pc:sldMk cId="2946432182" sldId="339"/>
            <ac:cxnSpMk id="80" creationId="{8073B33E-F516-4CFF-BA68-4302DB95D6AD}"/>
          </ac:cxnSpMkLst>
        </pc:cxnChg>
        <pc:cxnChg chg="mod">
          <ac:chgData name="Zenos Zenica" userId="de3ee720dba36952" providerId="Windows Live" clId="Web-{87EC33F8-20F9-4A9B-8B0C-47C86D280FAD}" dt="2020-11-23T11:47:51.147" v="1513" actId="14100"/>
          <ac:cxnSpMkLst>
            <pc:docMk/>
            <pc:sldMk cId="2946432182" sldId="339"/>
            <ac:cxnSpMk id="83" creationId="{86B86325-154A-4ED5-BA1A-B90C5C52310C}"/>
          </ac:cxnSpMkLst>
        </pc:cxnChg>
        <pc:cxnChg chg="mod">
          <ac:chgData name="Zenos Zenica" userId="de3ee720dba36952" providerId="Windows Live" clId="Web-{87EC33F8-20F9-4A9B-8B0C-47C86D280FAD}" dt="2020-11-23T11:46:21.066" v="1501" actId="14100"/>
          <ac:cxnSpMkLst>
            <pc:docMk/>
            <pc:sldMk cId="2946432182" sldId="339"/>
            <ac:cxnSpMk id="103" creationId="{8D5ECE90-0ED7-4F05-A0CA-A8A1866C9187}"/>
          </ac:cxnSpMkLst>
        </pc:cxnChg>
      </pc:sldChg>
      <pc:sldChg chg="modSp add">
        <pc:chgData name="Zenos Zenica" userId="de3ee720dba36952" providerId="Windows Live" clId="Web-{87EC33F8-20F9-4A9B-8B0C-47C86D280FAD}" dt="2020-11-23T10:08:17.789" v="898" actId="1076"/>
        <pc:sldMkLst>
          <pc:docMk/>
          <pc:sldMk cId="1215170767" sldId="340"/>
        </pc:sldMkLst>
        <pc:spChg chg="mod">
          <ac:chgData name="Zenos Zenica" userId="de3ee720dba36952" providerId="Windows Live" clId="Web-{87EC33F8-20F9-4A9B-8B0C-47C86D280FAD}" dt="2020-11-23T10:07:21.366" v="886" actId="1076"/>
          <ac:spMkLst>
            <pc:docMk/>
            <pc:sldMk cId="1215170767" sldId="340"/>
            <ac:spMk id="4" creationId="{B8CB9108-1583-4A1C-846B-3263D00D0833}"/>
          </ac:spMkLst>
        </pc:spChg>
        <pc:spChg chg="mod">
          <ac:chgData name="Zenos Zenica" userId="de3ee720dba36952" providerId="Windows Live" clId="Web-{87EC33F8-20F9-4A9B-8B0C-47C86D280FAD}" dt="2020-11-23T10:07:31.538" v="891"/>
          <ac:spMkLst>
            <pc:docMk/>
            <pc:sldMk cId="1215170767" sldId="340"/>
            <ac:spMk id="5" creationId="{CF6E12EC-3064-424E-99AB-27EF93034598}"/>
          </ac:spMkLst>
        </pc:spChg>
        <pc:spChg chg="mod">
          <ac:chgData name="Zenos Zenica" userId="de3ee720dba36952" providerId="Windows Live" clId="Web-{87EC33F8-20F9-4A9B-8B0C-47C86D280FAD}" dt="2020-11-23T10:07:31.569" v="893"/>
          <ac:spMkLst>
            <pc:docMk/>
            <pc:sldMk cId="1215170767" sldId="340"/>
            <ac:spMk id="30" creationId="{CB52A941-8526-411B-A506-44A1ABD1E91B}"/>
          </ac:spMkLst>
        </pc:spChg>
        <pc:spChg chg="mod">
          <ac:chgData name="Zenos Zenica" userId="de3ee720dba36952" providerId="Windows Live" clId="Web-{87EC33F8-20F9-4A9B-8B0C-47C86D280FAD}" dt="2020-11-23T10:07:31.585" v="894"/>
          <ac:spMkLst>
            <pc:docMk/>
            <pc:sldMk cId="1215170767" sldId="340"/>
            <ac:spMk id="31" creationId="{3D027F2A-C7BB-442C-BE44-DB66F4D99BEB}"/>
          </ac:spMkLst>
        </pc:spChg>
        <pc:spChg chg="mod">
          <ac:chgData name="Zenos Zenica" userId="de3ee720dba36952" providerId="Windows Live" clId="Web-{87EC33F8-20F9-4A9B-8B0C-47C86D280FAD}" dt="2020-11-23T10:07:45.741" v="895" actId="1076"/>
          <ac:spMkLst>
            <pc:docMk/>
            <pc:sldMk cId="1215170767" sldId="340"/>
            <ac:spMk id="32" creationId="{F018B139-7093-4A7C-9C0C-F33399D05A5B}"/>
          </ac:spMkLst>
        </pc:spChg>
        <pc:spChg chg="mod">
          <ac:chgData name="Zenos Zenica" userId="de3ee720dba36952" providerId="Windows Live" clId="Web-{87EC33F8-20F9-4A9B-8B0C-47C86D280FAD}" dt="2020-11-23T10:08:08.383" v="896" actId="1076"/>
          <ac:spMkLst>
            <pc:docMk/>
            <pc:sldMk cId="1215170767" sldId="340"/>
            <ac:spMk id="33" creationId="{81C8664D-65B7-4E46-B309-63E75FA4E9F2}"/>
          </ac:spMkLst>
        </pc:spChg>
        <pc:spChg chg="mod">
          <ac:chgData name="Zenos Zenica" userId="de3ee720dba36952" providerId="Windows Live" clId="Web-{87EC33F8-20F9-4A9B-8B0C-47C86D280FAD}" dt="2020-11-23T10:08:13.445" v="897" actId="1076"/>
          <ac:spMkLst>
            <pc:docMk/>
            <pc:sldMk cId="1215170767" sldId="340"/>
            <ac:spMk id="34" creationId="{365AF5B4-2041-47CE-9087-5C8F30BDBAD3}"/>
          </ac:spMkLst>
        </pc:spChg>
        <pc:spChg chg="mod">
          <ac:chgData name="Zenos Zenica" userId="de3ee720dba36952" providerId="Windows Live" clId="Web-{87EC33F8-20F9-4A9B-8B0C-47C86D280FAD}" dt="2020-11-23T10:08:17.789" v="898" actId="1076"/>
          <ac:spMkLst>
            <pc:docMk/>
            <pc:sldMk cId="1215170767" sldId="340"/>
            <ac:spMk id="35" creationId="{3DF426D4-10A2-4A28-8CDC-C88E76EDFB2B}"/>
          </ac:spMkLst>
        </pc:spChg>
        <pc:spChg chg="mod">
          <ac:chgData name="Zenos Zenica" userId="de3ee720dba36952" providerId="Windows Live" clId="Web-{87EC33F8-20F9-4A9B-8B0C-47C86D280FAD}" dt="2020-11-23T10:07:31.553" v="892"/>
          <ac:spMkLst>
            <pc:docMk/>
            <pc:sldMk cId="1215170767" sldId="340"/>
            <ac:spMk id="49" creationId="{F6313C2A-A173-48F9-B296-F2E25D12908F}"/>
          </ac:spMkLst>
        </pc:spChg>
        <pc:spChg chg="mod">
          <ac:chgData name="Zenos Zenica" userId="de3ee720dba36952" providerId="Windows Live" clId="Web-{87EC33F8-20F9-4A9B-8B0C-47C86D280FAD}" dt="2020-11-23T10:06:21.255" v="861" actId="1076"/>
          <ac:spMkLst>
            <pc:docMk/>
            <pc:sldMk cId="1215170767" sldId="340"/>
            <ac:spMk id="100" creationId="{56855E61-FBFA-4AA1-AF7A-5645026907FD}"/>
          </ac:spMkLst>
        </pc:spChg>
        <pc:cxnChg chg="mod">
          <ac:chgData name="Zenos Zenica" userId="de3ee720dba36952" providerId="Windows Live" clId="Web-{87EC33F8-20F9-4A9B-8B0C-47C86D280FAD}" dt="2020-11-23T10:06:21.286" v="864" actId="1076"/>
          <ac:cxnSpMkLst>
            <pc:docMk/>
            <pc:sldMk cId="1215170767" sldId="340"/>
            <ac:cxnSpMk id="7" creationId="{CB4BCE39-4255-4997-9BF0-DB788D061721}"/>
          </ac:cxnSpMkLst>
        </pc:cxnChg>
      </pc:sldChg>
      <pc:sldChg chg="modSp add">
        <pc:chgData name="Zenos Zenica" userId="de3ee720dba36952" providerId="Windows Live" clId="Web-{87EC33F8-20F9-4A9B-8B0C-47C86D280FAD}" dt="2020-11-23T10:11:09.325" v="946" actId="1076"/>
        <pc:sldMkLst>
          <pc:docMk/>
          <pc:sldMk cId="208483610" sldId="341"/>
        </pc:sldMkLst>
        <pc:spChg chg="mod">
          <ac:chgData name="Zenos Zenica" userId="de3ee720dba36952" providerId="Windows Live" clId="Web-{87EC33F8-20F9-4A9B-8B0C-47C86D280FAD}" dt="2020-11-23T10:10:25.105" v="931" actId="1076"/>
          <ac:spMkLst>
            <pc:docMk/>
            <pc:sldMk cId="208483610" sldId="341"/>
            <ac:spMk id="4" creationId="{B8CB9108-1583-4A1C-846B-3263D00D0833}"/>
          </ac:spMkLst>
        </pc:spChg>
        <pc:spChg chg="mod">
          <ac:chgData name="Zenos Zenica" userId="de3ee720dba36952" providerId="Windows Live" clId="Web-{87EC33F8-20F9-4A9B-8B0C-47C86D280FAD}" dt="2020-11-23T10:10:34.683" v="932"/>
          <ac:spMkLst>
            <pc:docMk/>
            <pc:sldMk cId="208483610" sldId="341"/>
            <ac:spMk id="15" creationId="{8EDE0225-25D9-4A5D-937B-C1B3B531F6B2}"/>
          </ac:spMkLst>
        </pc:spChg>
        <pc:spChg chg="mod">
          <ac:chgData name="Zenos Zenica" userId="de3ee720dba36952" providerId="Windows Live" clId="Web-{87EC33F8-20F9-4A9B-8B0C-47C86D280FAD}" dt="2020-11-23T10:10:34.746" v="933"/>
          <ac:spMkLst>
            <pc:docMk/>
            <pc:sldMk cId="208483610" sldId="341"/>
            <ac:spMk id="16" creationId="{16AE0FC8-7583-4919-A369-3E1B34DC5C04}"/>
          </ac:spMkLst>
        </pc:spChg>
        <pc:spChg chg="mod">
          <ac:chgData name="Zenos Zenica" userId="de3ee720dba36952" providerId="Windows Live" clId="Web-{87EC33F8-20F9-4A9B-8B0C-47C86D280FAD}" dt="2020-11-23T10:10:34.824" v="934"/>
          <ac:spMkLst>
            <pc:docMk/>
            <pc:sldMk cId="208483610" sldId="341"/>
            <ac:spMk id="17" creationId="{7E93E9F9-3FF7-4606-A59B-D8D903F0FDA9}"/>
          </ac:spMkLst>
        </pc:spChg>
        <pc:spChg chg="mod">
          <ac:chgData name="Zenos Zenica" userId="de3ee720dba36952" providerId="Windows Live" clId="Web-{87EC33F8-20F9-4A9B-8B0C-47C86D280FAD}" dt="2020-11-23T10:10:34.902" v="935"/>
          <ac:spMkLst>
            <pc:docMk/>
            <pc:sldMk cId="208483610" sldId="341"/>
            <ac:spMk id="18" creationId="{AEEBB382-01E1-4868-891D-33C37437EC4E}"/>
          </ac:spMkLst>
        </pc:spChg>
        <pc:spChg chg="mod">
          <ac:chgData name="Zenos Zenica" userId="de3ee720dba36952" providerId="Windows Live" clId="Web-{87EC33F8-20F9-4A9B-8B0C-47C86D280FAD}" dt="2020-11-23T10:10:34.965" v="936"/>
          <ac:spMkLst>
            <pc:docMk/>
            <pc:sldMk cId="208483610" sldId="341"/>
            <ac:spMk id="20" creationId="{062D07B8-00B6-4F0A-A8A6-5C88DCB3E2A3}"/>
          </ac:spMkLst>
        </pc:spChg>
        <pc:spChg chg="mod">
          <ac:chgData name="Zenos Zenica" userId="de3ee720dba36952" providerId="Windows Live" clId="Web-{87EC33F8-20F9-4A9B-8B0C-47C86D280FAD}" dt="2020-11-23T10:10:35.043" v="937"/>
          <ac:spMkLst>
            <pc:docMk/>
            <pc:sldMk cId="208483610" sldId="341"/>
            <ac:spMk id="21" creationId="{CF70DE15-9BE8-40DD-A4E0-E82287C12258}"/>
          </ac:spMkLst>
        </pc:spChg>
        <pc:spChg chg="mod">
          <ac:chgData name="Zenos Zenica" userId="de3ee720dba36952" providerId="Windows Live" clId="Web-{87EC33F8-20F9-4A9B-8B0C-47C86D280FAD}" dt="2020-11-23T10:11:03.169" v="945" actId="1076"/>
          <ac:spMkLst>
            <pc:docMk/>
            <pc:sldMk cId="208483610" sldId="341"/>
            <ac:spMk id="22" creationId="{D3DC1898-6275-4144-AE76-CED6333A4068}"/>
          </ac:spMkLst>
        </pc:spChg>
        <pc:spChg chg="mod">
          <ac:chgData name="Zenos Zenica" userId="de3ee720dba36952" providerId="Windows Live" clId="Web-{87EC33F8-20F9-4A9B-8B0C-47C86D280FAD}" dt="2020-11-23T10:11:09.325" v="946" actId="1076"/>
          <ac:spMkLst>
            <pc:docMk/>
            <pc:sldMk cId="208483610" sldId="341"/>
            <ac:spMk id="23" creationId="{175DD395-C0D3-4565-B465-BB6ECC957B3F}"/>
          </ac:spMkLst>
        </pc:spChg>
        <pc:spChg chg="mod">
          <ac:chgData name="Zenos Zenica" userId="de3ee720dba36952" providerId="Windows Live" clId="Web-{87EC33F8-20F9-4A9B-8B0C-47C86D280FAD}" dt="2020-11-23T10:10:35.262" v="940"/>
          <ac:spMkLst>
            <pc:docMk/>
            <pc:sldMk cId="208483610" sldId="341"/>
            <ac:spMk id="24" creationId="{3053E684-6E0D-45A0-9C61-C9628CBF964C}"/>
          </ac:spMkLst>
        </pc:spChg>
        <pc:spChg chg="mod">
          <ac:chgData name="Zenos Zenica" userId="de3ee720dba36952" providerId="Windows Live" clId="Web-{87EC33F8-20F9-4A9B-8B0C-47C86D280FAD}" dt="2020-11-23T10:10:44.902" v="944" actId="1076"/>
          <ac:spMkLst>
            <pc:docMk/>
            <pc:sldMk cId="208483610" sldId="341"/>
            <ac:spMk id="25" creationId="{2B63EF41-C744-40AC-9070-4071716CB85A}"/>
          </ac:spMkLst>
        </pc:spChg>
        <pc:spChg chg="mod">
          <ac:chgData name="Zenos Zenica" userId="de3ee720dba36952" providerId="Windows Live" clId="Web-{87EC33F8-20F9-4A9B-8B0C-47C86D280FAD}" dt="2020-11-23T10:10:35.402" v="942"/>
          <ac:spMkLst>
            <pc:docMk/>
            <pc:sldMk cId="208483610" sldId="341"/>
            <ac:spMk id="26" creationId="{C35268F3-A728-411A-B2B9-9925690FCD38}"/>
          </ac:spMkLst>
        </pc:spChg>
        <pc:spChg chg="mod">
          <ac:chgData name="Zenos Zenica" userId="de3ee720dba36952" providerId="Windows Live" clId="Web-{87EC33F8-20F9-4A9B-8B0C-47C86D280FAD}" dt="2020-11-23T10:10:35.480" v="943"/>
          <ac:spMkLst>
            <pc:docMk/>
            <pc:sldMk cId="208483610" sldId="341"/>
            <ac:spMk id="27" creationId="{63CF15F4-E96F-4DEC-B6F8-6B270256BC65}"/>
          </ac:spMkLst>
        </pc:spChg>
        <pc:spChg chg="mod">
          <ac:chgData name="Zenos Zenica" userId="de3ee720dba36952" providerId="Windows Live" clId="Web-{87EC33F8-20F9-4A9B-8B0C-47C86D280FAD}" dt="2020-11-23T10:10:22.386" v="930" actId="1076"/>
          <ac:spMkLst>
            <pc:docMk/>
            <pc:sldMk cId="208483610" sldId="341"/>
            <ac:spMk id="37" creationId="{86D52415-A876-4FD2-86D3-CCBAFB219034}"/>
          </ac:spMkLst>
        </pc:spChg>
        <pc:grpChg chg="mod">
          <ac:chgData name="Zenos Zenica" userId="de3ee720dba36952" providerId="Windows Live" clId="Web-{87EC33F8-20F9-4A9B-8B0C-47C86D280FAD}" dt="2020-11-23T10:08:38.805" v="899" actId="1076"/>
          <ac:grpSpMkLst>
            <pc:docMk/>
            <pc:sldMk cId="208483610" sldId="341"/>
            <ac:grpSpMk id="3" creationId="{90702F68-82C1-42CC-9582-7CD198FA5AC1}"/>
          </ac:grpSpMkLst>
        </pc:grpChg>
      </pc:sldChg>
      <pc:sldChg chg="modSp add">
        <pc:chgData name="Zenos Zenica" userId="de3ee720dba36952" providerId="Windows Live" clId="Web-{87EC33F8-20F9-4A9B-8B0C-47C86D280FAD}" dt="2020-11-23T10:13:41.564" v="989" actId="1076"/>
        <pc:sldMkLst>
          <pc:docMk/>
          <pc:sldMk cId="4099653127" sldId="342"/>
        </pc:sldMkLst>
        <pc:spChg chg="mod">
          <ac:chgData name="Zenos Zenica" userId="de3ee720dba36952" providerId="Windows Live" clId="Web-{87EC33F8-20F9-4A9B-8B0C-47C86D280FAD}" dt="2020-11-23T10:11:40.904" v="957" actId="1076"/>
          <ac:spMkLst>
            <pc:docMk/>
            <pc:sldMk cId="4099653127" sldId="342"/>
            <ac:spMk id="4" creationId="{B8CB9108-1583-4A1C-846B-3263D00D0833}"/>
          </ac:spMkLst>
        </pc:spChg>
        <pc:spChg chg="mod">
          <ac:chgData name="Zenos Zenica" userId="de3ee720dba36952" providerId="Windows Live" clId="Web-{87EC33F8-20F9-4A9B-8B0C-47C86D280FAD}" dt="2020-11-23T10:11:57.733" v="960"/>
          <ac:spMkLst>
            <pc:docMk/>
            <pc:sldMk cId="4099653127" sldId="342"/>
            <ac:spMk id="15" creationId="{8EDE0225-25D9-4A5D-937B-C1B3B531F6B2}"/>
          </ac:spMkLst>
        </pc:spChg>
        <pc:spChg chg="mod">
          <ac:chgData name="Zenos Zenica" userId="de3ee720dba36952" providerId="Windows Live" clId="Web-{87EC33F8-20F9-4A9B-8B0C-47C86D280FAD}" dt="2020-11-23T10:12:13.577" v="961"/>
          <ac:spMkLst>
            <pc:docMk/>
            <pc:sldMk cId="4099653127" sldId="342"/>
            <ac:spMk id="16" creationId="{16AE0FC8-7583-4919-A369-3E1B34DC5C04}"/>
          </ac:spMkLst>
        </pc:spChg>
        <pc:spChg chg="mod">
          <ac:chgData name="Zenos Zenica" userId="de3ee720dba36952" providerId="Windows Live" clId="Web-{87EC33F8-20F9-4A9B-8B0C-47C86D280FAD}" dt="2020-11-23T10:12:13.655" v="962"/>
          <ac:spMkLst>
            <pc:docMk/>
            <pc:sldMk cId="4099653127" sldId="342"/>
            <ac:spMk id="17" creationId="{7E93E9F9-3FF7-4606-A59B-D8D903F0FDA9}"/>
          </ac:spMkLst>
        </pc:spChg>
        <pc:spChg chg="mod">
          <ac:chgData name="Zenos Zenica" userId="de3ee720dba36952" providerId="Windows Live" clId="Web-{87EC33F8-20F9-4A9B-8B0C-47C86D280FAD}" dt="2020-11-23T10:12:13.733" v="963"/>
          <ac:spMkLst>
            <pc:docMk/>
            <pc:sldMk cId="4099653127" sldId="342"/>
            <ac:spMk id="18" creationId="{AEEBB382-01E1-4868-891D-33C37437EC4E}"/>
          </ac:spMkLst>
        </pc:spChg>
        <pc:spChg chg="mod">
          <ac:chgData name="Zenos Zenica" userId="de3ee720dba36952" providerId="Windows Live" clId="Web-{87EC33F8-20F9-4A9B-8B0C-47C86D280FAD}" dt="2020-11-23T10:12:13.811" v="964"/>
          <ac:spMkLst>
            <pc:docMk/>
            <pc:sldMk cId="4099653127" sldId="342"/>
            <ac:spMk id="20" creationId="{062D07B8-00B6-4F0A-A8A6-5C88DCB3E2A3}"/>
          </ac:spMkLst>
        </pc:spChg>
        <pc:spChg chg="mod">
          <ac:chgData name="Zenos Zenica" userId="de3ee720dba36952" providerId="Windows Live" clId="Web-{87EC33F8-20F9-4A9B-8B0C-47C86D280FAD}" dt="2020-11-23T10:12:13.889" v="965"/>
          <ac:spMkLst>
            <pc:docMk/>
            <pc:sldMk cId="4099653127" sldId="342"/>
            <ac:spMk id="21" creationId="{CF70DE15-9BE8-40DD-A4E0-E82287C12258}"/>
          </ac:spMkLst>
        </pc:spChg>
        <pc:spChg chg="mod">
          <ac:chgData name="Zenos Zenica" userId="de3ee720dba36952" providerId="Windows Live" clId="Web-{87EC33F8-20F9-4A9B-8B0C-47C86D280FAD}" dt="2020-11-23T10:12:35.749" v="974" actId="1076"/>
          <ac:spMkLst>
            <pc:docMk/>
            <pc:sldMk cId="4099653127" sldId="342"/>
            <ac:spMk id="22" creationId="{D3DC1898-6275-4144-AE76-CED6333A4068}"/>
          </ac:spMkLst>
        </pc:spChg>
        <pc:spChg chg="mod">
          <ac:chgData name="Zenos Zenica" userId="de3ee720dba36952" providerId="Windows Live" clId="Web-{87EC33F8-20F9-4A9B-8B0C-47C86D280FAD}" dt="2020-11-23T10:12:29.765" v="973" actId="1076"/>
          <ac:spMkLst>
            <pc:docMk/>
            <pc:sldMk cId="4099653127" sldId="342"/>
            <ac:spMk id="23" creationId="{175DD395-C0D3-4565-B465-BB6ECC957B3F}"/>
          </ac:spMkLst>
        </pc:spChg>
        <pc:spChg chg="mod">
          <ac:chgData name="Zenos Zenica" userId="de3ee720dba36952" providerId="Windows Live" clId="Web-{87EC33F8-20F9-4A9B-8B0C-47C86D280FAD}" dt="2020-11-23T10:12:14.046" v="967"/>
          <ac:spMkLst>
            <pc:docMk/>
            <pc:sldMk cId="4099653127" sldId="342"/>
            <ac:spMk id="24" creationId="{3053E684-6E0D-45A0-9C61-C9628CBF964C}"/>
          </ac:spMkLst>
        </pc:spChg>
        <pc:spChg chg="mod">
          <ac:chgData name="Zenos Zenica" userId="de3ee720dba36952" providerId="Windows Live" clId="Web-{87EC33F8-20F9-4A9B-8B0C-47C86D280FAD}" dt="2020-11-23T10:12:40.171" v="975" actId="1076"/>
          <ac:spMkLst>
            <pc:docMk/>
            <pc:sldMk cId="4099653127" sldId="342"/>
            <ac:spMk id="25" creationId="{2B63EF41-C744-40AC-9070-4071716CB85A}"/>
          </ac:spMkLst>
        </pc:spChg>
        <pc:spChg chg="mod">
          <ac:chgData name="Zenos Zenica" userId="de3ee720dba36952" providerId="Windows Live" clId="Web-{87EC33F8-20F9-4A9B-8B0C-47C86D280FAD}" dt="2020-11-23T10:12:14.202" v="969"/>
          <ac:spMkLst>
            <pc:docMk/>
            <pc:sldMk cId="4099653127" sldId="342"/>
            <ac:spMk id="26" creationId="{C35268F3-A728-411A-B2B9-9925690FCD38}"/>
          </ac:spMkLst>
        </pc:spChg>
        <pc:spChg chg="mod">
          <ac:chgData name="Zenos Zenica" userId="de3ee720dba36952" providerId="Windows Live" clId="Web-{87EC33F8-20F9-4A9B-8B0C-47C86D280FAD}" dt="2020-11-23T10:12:14.280" v="970"/>
          <ac:spMkLst>
            <pc:docMk/>
            <pc:sldMk cId="4099653127" sldId="342"/>
            <ac:spMk id="27" creationId="{63CF15F4-E96F-4DEC-B6F8-6B270256BC65}"/>
          </ac:spMkLst>
        </pc:spChg>
        <pc:spChg chg="mod">
          <ac:chgData name="Zenos Zenica" userId="de3ee720dba36952" providerId="Windows Live" clId="Web-{87EC33F8-20F9-4A9B-8B0C-47C86D280FAD}" dt="2020-11-23T10:13:40.142" v="988" actId="1076"/>
          <ac:spMkLst>
            <pc:docMk/>
            <pc:sldMk cId="4099653127" sldId="342"/>
            <ac:spMk id="28" creationId="{1874CCDC-64E5-4C2F-B847-E5475F5C7605}"/>
          </ac:spMkLst>
        </pc:spChg>
        <pc:grpChg chg="mod">
          <ac:chgData name="Zenos Zenica" userId="de3ee720dba36952" providerId="Windows Live" clId="Web-{87EC33F8-20F9-4A9B-8B0C-47C86D280FAD}" dt="2020-11-23T10:13:41.564" v="989" actId="1076"/>
          <ac:grpSpMkLst>
            <pc:docMk/>
            <pc:sldMk cId="4099653127" sldId="342"/>
            <ac:grpSpMk id="3" creationId="{90702F68-82C1-42CC-9582-7CD198FA5AC1}"/>
          </ac:grpSpMkLst>
        </pc:grpChg>
      </pc:sldChg>
      <pc:sldChg chg="modSp add">
        <pc:chgData name="Zenos Zenica" userId="de3ee720dba36952" providerId="Windows Live" clId="Web-{87EC33F8-20F9-4A9B-8B0C-47C86D280FAD}" dt="2020-11-23T10:32:05.735" v="1041" actId="1076"/>
        <pc:sldMkLst>
          <pc:docMk/>
          <pc:sldMk cId="1295120203" sldId="343"/>
        </pc:sldMkLst>
        <pc:spChg chg="mod">
          <ac:chgData name="Zenos Zenica" userId="de3ee720dba36952" providerId="Windows Live" clId="Web-{87EC33F8-20F9-4A9B-8B0C-47C86D280FAD}" dt="2020-11-23T10:31:25.781" v="1033" actId="14100"/>
          <ac:spMkLst>
            <pc:docMk/>
            <pc:sldMk cId="1295120203" sldId="343"/>
            <ac:spMk id="4" creationId="{B8CB9108-1583-4A1C-846B-3263D00D0833}"/>
          </ac:spMkLst>
        </pc:spChg>
        <pc:spChg chg="mod">
          <ac:chgData name="Zenos Zenica" userId="de3ee720dba36952" providerId="Windows Live" clId="Web-{87EC33F8-20F9-4A9B-8B0C-47C86D280FAD}" dt="2020-11-23T10:31:44.437" v="1035" actId="1076"/>
          <ac:spMkLst>
            <pc:docMk/>
            <pc:sldMk cId="1295120203" sldId="343"/>
            <ac:spMk id="22" creationId="{D3DC1898-6275-4144-AE76-CED6333A4068}"/>
          </ac:spMkLst>
        </pc:spChg>
        <pc:spChg chg="mod">
          <ac:chgData name="Zenos Zenica" userId="de3ee720dba36952" providerId="Windows Live" clId="Web-{87EC33F8-20F9-4A9B-8B0C-47C86D280FAD}" dt="2020-11-23T10:31:40.187" v="1034" actId="1076"/>
          <ac:spMkLst>
            <pc:docMk/>
            <pc:sldMk cId="1295120203" sldId="343"/>
            <ac:spMk id="23" creationId="{175DD395-C0D3-4565-B465-BB6ECC957B3F}"/>
          </ac:spMkLst>
        </pc:spChg>
        <pc:spChg chg="mod">
          <ac:chgData name="Zenos Zenica" userId="de3ee720dba36952" providerId="Windows Live" clId="Web-{87EC33F8-20F9-4A9B-8B0C-47C86D280FAD}" dt="2020-11-23T10:32:05.735" v="1041" actId="1076"/>
          <ac:spMkLst>
            <pc:docMk/>
            <pc:sldMk cId="1295120203" sldId="343"/>
            <ac:spMk id="28" creationId="{1874CCDC-64E5-4C2F-B847-E5475F5C7605}"/>
          </ac:spMkLst>
        </pc:spChg>
      </pc:sldChg>
      <pc:sldChg chg="modSp add">
        <pc:chgData name="Zenos Zenica" userId="de3ee720dba36952" providerId="Windows Live" clId="Web-{87EC33F8-20F9-4A9B-8B0C-47C86D280FAD}" dt="2020-11-23T10:36:22.883" v="1095" actId="20577"/>
        <pc:sldMkLst>
          <pc:docMk/>
          <pc:sldMk cId="1932800815" sldId="344"/>
        </pc:sldMkLst>
        <pc:spChg chg="mod">
          <ac:chgData name="Zenos Zenica" userId="de3ee720dba36952" providerId="Windows Live" clId="Web-{87EC33F8-20F9-4A9B-8B0C-47C86D280FAD}" dt="2020-11-23T10:33:33.565" v="1047" actId="20577"/>
          <ac:spMkLst>
            <pc:docMk/>
            <pc:sldMk cId="1932800815" sldId="344"/>
            <ac:spMk id="4" creationId="{B8CB9108-1583-4A1C-846B-3263D00D0833}"/>
          </ac:spMkLst>
        </pc:spChg>
        <pc:spChg chg="mod">
          <ac:chgData name="Zenos Zenica" userId="de3ee720dba36952" providerId="Windows Live" clId="Web-{87EC33F8-20F9-4A9B-8B0C-47C86D280FAD}" dt="2020-11-23T10:35:26.631" v="1065"/>
          <ac:spMkLst>
            <pc:docMk/>
            <pc:sldMk cId="1932800815" sldId="344"/>
            <ac:spMk id="15" creationId="{8EDE0225-25D9-4A5D-937B-C1B3B531F6B2}"/>
          </ac:spMkLst>
        </pc:spChg>
        <pc:spChg chg="mod">
          <ac:chgData name="Zenos Zenica" userId="de3ee720dba36952" providerId="Windows Live" clId="Web-{87EC33F8-20F9-4A9B-8B0C-47C86D280FAD}" dt="2020-11-23T10:35:26.693" v="1066"/>
          <ac:spMkLst>
            <pc:docMk/>
            <pc:sldMk cId="1932800815" sldId="344"/>
            <ac:spMk id="16" creationId="{16AE0FC8-7583-4919-A369-3E1B34DC5C04}"/>
          </ac:spMkLst>
        </pc:spChg>
        <pc:spChg chg="mod">
          <ac:chgData name="Zenos Zenica" userId="de3ee720dba36952" providerId="Windows Live" clId="Web-{87EC33F8-20F9-4A9B-8B0C-47C86D280FAD}" dt="2020-11-23T10:35:26.756" v="1067"/>
          <ac:spMkLst>
            <pc:docMk/>
            <pc:sldMk cId="1932800815" sldId="344"/>
            <ac:spMk id="17" creationId="{7E93E9F9-3FF7-4606-A59B-D8D903F0FDA9}"/>
          </ac:spMkLst>
        </pc:spChg>
        <pc:spChg chg="mod">
          <ac:chgData name="Zenos Zenica" userId="de3ee720dba36952" providerId="Windows Live" clId="Web-{87EC33F8-20F9-4A9B-8B0C-47C86D280FAD}" dt="2020-11-23T10:35:26.818" v="1068"/>
          <ac:spMkLst>
            <pc:docMk/>
            <pc:sldMk cId="1932800815" sldId="344"/>
            <ac:spMk id="18" creationId="{AEEBB382-01E1-4868-891D-33C37437EC4E}"/>
          </ac:spMkLst>
        </pc:spChg>
        <pc:spChg chg="mod">
          <ac:chgData name="Zenos Zenica" userId="de3ee720dba36952" providerId="Windows Live" clId="Web-{87EC33F8-20F9-4A9B-8B0C-47C86D280FAD}" dt="2020-11-23T10:36:22.883" v="1095" actId="20577"/>
          <ac:spMkLst>
            <pc:docMk/>
            <pc:sldMk cId="1932800815" sldId="344"/>
            <ac:spMk id="19" creationId="{AEC72BF0-11CD-4FCE-862D-B247DF65D7A2}"/>
          </ac:spMkLst>
        </pc:spChg>
        <pc:spChg chg="mod">
          <ac:chgData name="Zenos Zenica" userId="de3ee720dba36952" providerId="Windows Live" clId="Web-{87EC33F8-20F9-4A9B-8B0C-47C86D280FAD}" dt="2020-11-23T10:35:26.881" v="1069"/>
          <ac:spMkLst>
            <pc:docMk/>
            <pc:sldMk cId="1932800815" sldId="344"/>
            <ac:spMk id="20" creationId="{062D07B8-00B6-4F0A-A8A6-5C88DCB3E2A3}"/>
          </ac:spMkLst>
        </pc:spChg>
        <pc:spChg chg="mod">
          <ac:chgData name="Zenos Zenica" userId="de3ee720dba36952" providerId="Windows Live" clId="Web-{87EC33F8-20F9-4A9B-8B0C-47C86D280FAD}" dt="2020-11-23T10:35:26.943" v="1070"/>
          <ac:spMkLst>
            <pc:docMk/>
            <pc:sldMk cId="1932800815" sldId="344"/>
            <ac:spMk id="21" creationId="{CF70DE15-9BE8-40DD-A4E0-E82287C12258}"/>
          </ac:spMkLst>
        </pc:spChg>
        <pc:spChg chg="mod">
          <ac:chgData name="Zenos Zenica" userId="de3ee720dba36952" providerId="Windows Live" clId="Web-{87EC33F8-20F9-4A9B-8B0C-47C86D280FAD}" dt="2020-11-23T10:35:50.944" v="1081" actId="1076"/>
          <ac:spMkLst>
            <pc:docMk/>
            <pc:sldMk cId="1932800815" sldId="344"/>
            <ac:spMk id="22" creationId="{D3DC1898-6275-4144-AE76-CED6333A4068}"/>
          </ac:spMkLst>
        </pc:spChg>
        <pc:spChg chg="mod">
          <ac:chgData name="Zenos Zenica" userId="de3ee720dba36952" providerId="Windows Live" clId="Web-{87EC33F8-20F9-4A9B-8B0C-47C86D280FAD}" dt="2020-11-23T10:35:43.881" v="1080" actId="1076"/>
          <ac:spMkLst>
            <pc:docMk/>
            <pc:sldMk cId="1932800815" sldId="344"/>
            <ac:spMk id="23" creationId="{175DD395-C0D3-4565-B465-BB6ECC957B3F}"/>
          </ac:spMkLst>
        </pc:spChg>
        <pc:spChg chg="mod">
          <ac:chgData name="Zenos Zenica" userId="de3ee720dba36952" providerId="Windows Live" clId="Web-{87EC33F8-20F9-4A9B-8B0C-47C86D280FAD}" dt="2020-11-23T10:35:27.131" v="1073"/>
          <ac:spMkLst>
            <pc:docMk/>
            <pc:sldMk cId="1932800815" sldId="344"/>
            <ac:spMk id="24" creationId="{3053E684-6E0D-45A0-9C61-C9628CBF964C}"/>
          </ac:spMkLst>
        </pc:spChg>
        <pc:spChg chg="mod">
          <ac:chgData name="Zenos Zenica" userId="de3ee720dba36952" providerId="Windows Live" clId="Web-{87EC33F8-20F9-4A9B-8B0C-47C86D280FAD}" dt="2020-11-23T10:35:57.601" v="1082" actId="1076"/>
          <ac:spMkLst>
            <pc:docMk/>
            <pc:sldMk cId="1932800815" sldId="344"/>
            <ac:spMk id="25" creationId="{2B63EF41-C744-40AC-9070-4071716CB85A}"/>
          </ac:spMkLst>
        </pc:spChg>
        <pc:spChg chg="mod">
          <ac:chgData name="Zenos Zenica" userId="de3ee720dba36952" providerId="Windows Live" clId="Web-{87EC33F8-20F9-4A9B-8B0C-47C86D280FAD}" dt="2020-11-23T10:35:27.272" v="1075"/>
          <ac:spMkLst>
            <pc:docMk/>
            <pc:sldMk cId="1932800815" sldId="344"/>
            <ac:spMk id="26" creationId="{C35268F3-A728-411A-B2B9-9925690FCD38}"/>
          </ac:spMkLst>
        </pc:spChg>
        <pc:spChg chg="mod">
          <ac:chgData name="Zenos Zenica" userId="de3ee720dba36952" providerId="Windows Live" clId="Web-{87EC33F8-20F9-4A9B-8B0C-47C86D280FAD}" dt="2020-11-23T10:35:27.334" v="1076"/>
          <ac:spMkLst>
            <pc:docMk/>
            <pc:sldMk cId="1932800815" sldId="344"/>
            <ac:spMk id="27" creationId="{63CF15F4-E96F-4DEC-B6F8-6B270256BC65}"/>
          </ac:spMkLst>
        </pc:spChg>
        <pc:spChg chg="mod">
          <ac:chgData name="Zenos Zenica" userId="de3ee720dba36952" providerId="Windows Live" clId="Web-{87EC33F8-20F9-4A9B-8B0C-47C86D280FAD}" dt="2020-11-23T10:35:02.865" v="1063" actId="20577"/>
          <ac:spMkLst>
            <pc:docMk/>
            <pc:sldMk cId="1932800815" sldId="344"/>
            <ac:spMk id="28" creationId="{1874CCDC-64E5-4C2F-B847-E5475F5C7605}"/>
          </ac:spMkLst>
        </pc:spChg>
        <pc:grpChg chg="mod">
          <ac:chgData name="Zenos Zenica" userId="de3ee720dba36952" providerId="Windows Live" clId="Web-{87EC33F8-20F9-4A9B-8B0C-47C86D280FAD}" dt="2020-11-23T10:33:49.566" v="1049" actId="1076"/>
          <ac:grpSpMkLst>
            <pc:docMk/>
            <pc:sldMk cId="1932800815" sldId="344"/>
            <ac:grpSpMk id="3" creationId="{90702F68-82C1-42CC-9582-7CD198FA5AC1}"/>
          </ac:grpSpMkLst>
        </pc:grpChg>
      </pc:sldChg>
      <pc:sldChg chg="add">
        <pc:chgData name="Zenos Zenica" userId="de3ee720dba36952" providerId="Windows Live" clId="Web-{87EC33F8-20F9-4A9B-8B0C-47C86D280FAD}" dt="2020-11-23T08:09:23.334" v="35"/>
        <pc:sldMkLst>
          <pc:docMk/>
          <pc:sldMk cId="5770018" sldId="345"/>
        </pc:sldMkLst>
      </pc:sldChg>
      <pc:sldChg chg="modSp add">
        <pc:chgData name="Zenos Zenica" userId="de3ee720dba36952" providerId="Windows Live" clId="Web-{87EC33F8-20F9-4A9B-8B0C-47C86D280FAD}" dt="2020-11-23T11:45:11.173" v="1494" actId="20577"/>
        <pc:sldMkLst>
          <pc:docMk/>
          <pc:sldMk cId="1899659062" sldId="346"/>
        </pc:sldMkLst>
        <pc:spChg chg="mod">
          <ac:chgData name="Zenos Zenica" userId="de3ee720dba36952" providerId="Windows Live" clId="Web-{87EC33F8-20F9-4A9B-8B0C-47C86D280FAD}" dt="2020-11-23T10:36:40.680" v="1098" actId="14100"/>
          <ac:spMkLst>
            <pc:docMk/>
            <pc:sldMk cId="1899659062" sldId="346"/>
            <ac:spMk id="4" creationId="{B8CB9108-1583-4A1C-846B-3263D00D0833}"/>
          </ac:spMkLst>
        </pc:spChg>
        <pc:spChg chg="mod">
          <ac:chgData name="Zenos Zenica" userId="de3ee720dba36952" providerId="Windows Live" clId="Web-{87EC33F8-20F9-4A9B-8B0C-47C86D280FAD}" dt="2020-11-23T11:38:18.193" v="1442" actId="14100"/>
          <ac:spMkLst>
            <pc:docMk/>
            <pc:sldMk cId="1899659062" sldId="346"/>
            <ac:spMk id="5" creationId="{CF6E12EC-3064-424E-99AB-27EF93034598}"/>
          </ac:spMkLst>
        </pc:spChg>
        <pc:spChg chg="mod">
          <ac:chgData name="Zenos Zenica" userId="de3ee720dba36952" providerId="Windows Live" clId="Web-{87EC33F8-20F9-4A9B-8B0C-47C86D280FAD}" dt="2020-11-23T11:38:43.725" v="1443"/>
          <ac:spMkLst>
            <pc:docMk/>
            <pc:sldMk cId="1899659062" sldId="346"/>
            <ac:spMk id="6" creationId="{7AFD10B8-A55E-493C-B803-0909E20D1ADC}"/>
          </ac:spMkLst>
        </pc:spChg>
        <pc:spChg chg="mod">
          <ac:chgData name="Zenos Zenica" userId="de3ee720dba36952" providerId="Windows Live" clId="Web-{87EC33F8-20F9-4A9B-8B0C-47C86D280FAD}" dt="2020-11-23T11:38:18.084" v="1439" actId="14100"/>
          <ac:spMkLst>
            <pc:docMk/>
            <pc:sldMk cId="1899659062" sldId="346"/>
            <ac:spMk id="8" creationId="{A5EC3197-DC2C-4E82-858E-870868436FA4}"/>
          </ac:spMkLst>
        </pc:spChg>
        <pc:spChg chg="mod">
          <ac:chgData name="Zenos Zenica" userId="de3ee720dba36952" providerId="Windows Live" clId="Web-{87EC33F8-20F9-4A9B-8B0C-47C86D280FAD}" dt="2020-11-23T11:38:17.990" v="1438" actId="14100"/>
          <ac:spMkLst>
            <pc:docMk/>
            <pc:sldMk cId="1899659062" sldId="346"/>
            <ac:spMk id="9" creationId="{7926C7F8-FD8D-412D-934E-84DD69B312B5}"/>
          </ac:spMkLst>
        </pc:spChg>
        <pc:spChg chg="mod">
          <ac:chgData name="Zenos Zenica" userId="de3ee720dba36952" providerId="Windows Live" clId="Web-{87EC33F8-20F9-4A9B-8B0C-47C86D280FAD}" dt="2020-11-23T11:38:17.959" v="1437" actId="14100"/>
          <ac:spMkLst>
            <pc:docMk/>
            <pc:sldMk cId="1899659062" sldId="346"/>
            <ac:spMk id="11" creationId="{3A5594C2-1E3E-4291-9129-C3A085C3DA8E}"/>
          </ac:spMkLst>
        </pc:spChg>
        <pc:spChg chg="mod">
          <ac:chgData name="Zenos Zenica" userId="de3ee720dba36952" providerId="Windows Live" clId="Web-{87EC33F8-20F9-4A9B-8B0C-47C86D280FAD}" dt="2020-11-23T11:44:45.719" v="1488" actId="20577"/>
          <ac:spMkLst>
            <pc:docMk/>
            <pc:sldMk cId="1899659062" sldId="346"/>
            <ac:spMk id="12" creationId="{4CA5A7F4-79DA-4F54-9C1A-80DB48EE45CC}"/>
          </ac:spMkLst>
        </pc:spChg>
        <pc:spChg chg="mod">
          <ac:chgData name="Zenos Zenica" userId="de3ee720dba36952" providerId="Windows Live" clId="Web-{87EC33F8-20F9-4A9B-8B0C-47C86D280FAD}" dt="2020-11-23T11:38:17.755" v="1435" actId="14100"/>
          <ac:spMkLst>
            <pc:docMk/>
            <pc:sldMk cId="1899659062" sldId="346"/>
            <ac:spMk id="13" creationId="{3D92640E-971F-4EF2-A920-262094760C77}"/>
          </ac:spMkLst>
        </pc:spChg>
        <pc:spChg chg="mod">
          <ac:chgData name="Zenos Zenica" userId="de3ee720dba36952" providerId="Windows Live" clId="Web-{87EC33F8-20F9-4A9B-8B0C-47C86D280FAD}" dt="2020-11-23T11:41:36.417" v="1480" actId="20577"/>
          <ac:spMkLst>
            <pc:docMk/>
            <pc:sldMk cId="1899659062" sldId="346"/>
            <ac:spMk id="14" creationId="{A6B27BEF-B0BE-46C8-9F9C-DA90B7BA119B}"/>
          </ac:spMkLst>
        </pc:spChg>
        <pc:spChg chg="mod">
          <ac:chgData name="Zenos Zenica" userId="de3ee720dba36952" providerId="Windows Live" clId="Web-{87EC33F8-20F9-4A9B-8B0C-47C86D280FAD}" dt="2020-11-23T11:44:54.501" v="1490" actId="20577"/>
          <ac:spMkLst>
            <pc:docMk/>
            <pc:sldMk cId="1899659062" sldId="346"/>
            <ac:spMk id="15" creationId="{C9955025-9C8B-4B84-8FFE-EB55C634A7C8}"/>
          </ac:spMkLst>
        </pc:spChg>
        <pc:spChg chg="mod">
          <ac:chgData name="Zenos Zenica" userId="de3ee720dba36952" providerId="Windows Live" clId="Web-{87EC33F8-20F9-4A9B-8B0C-47C86D280FAD}" dt="2020-11-23T11:44:58.657" v="1491" actId="20577"/>
          <ac:spMkLst>
            <pc:docMk/>
            <pc:sldMk cId="1899659062" sldId="346"/>
            <ac:spMk id="16" creationId="{7F4DD27C-E5D1-4062-B8A8-137F33C55EA7}"/>
          </ac:spMkLst>
        </pc:spChg>
        <pc:spChg chg="mod">
          <ac:chgData name="Zenos Zenica" userId="de3ee720dba36952" providerId="Windows Live" clId="Web-{87EC33F8-20F9-4A9B-8B0C-47C86D280FAD}" dt="2020-11-23T11:45:07.032" v="1493" actId="20577"/>
          <ac:spMkLst>
            <pc:docMk/>
            <pc:sldMk cId="1899659062" sldId="346"/>
            <ac:spMk id="17" creationId="{D32FF549-170C-4C50-9807-AF048FB42FD1}"/>
          </ac:spMkLst>
        </pc:spChg>
        <pc:spChg chg="mod">
          <ac:chgData name="Zenos Zenica" userId="de3ee720dba36952" providerId="Windows Live" clId="Web-{87EC33F8-20F9-4A9B-8B0C-47C86D280FAD}" dt="2020-11-23T11:40:58.291" v="1476" actId="20577"/>
          <ac:spMkLst>
            <pc:docMk/>
            <pc:sldMk cId="1899659062" sldId="346"/>
            <ac:spMk id="18" creationId="{F2E7F9C6-4FF5-4F56-AE82-6D243BD5BAF0}"/>
          </ac:spMkLst>
        </pc:spChg>
        <pc:spChg chg="mod">
          <ac:chgData name="Zenos Zenica" userId="de3ee720dba36952" providerId="Windows Live" clId="Web-{87EC33F8-20F9-4A9B-8B0C-47C86D280FAD}" dt="2020-11-23T11:45:11.173" v="1494" actId="20577"/>
          <ac:spMkLst>
            <pc:docMk/>
            <pc:sldMk cId="1899659062" sldId="346"/>
            <ac:spMk id="19" creationId="{EDB86EC3-2D25-4E95-A0D2-817022D7628E}"/>
          </ac:spMkLst>
        </pc:spChg>
        <pc:spChg chg="mod">
          <ac:chgData name="Zenos Zenica" userId="de3ee720dba36952" providerId="Windows Live" clId="Web-{87EC33F8-20F9-4A9B-8B0C-47C86D280FAD}" dt="2020-11-23T11:38:17.084" v="1417" actId="14100"/>
          <ac:spMkLst>
            <pc:docMk/>
            <pc:sldMk cId="1899659062" sldId="346"/>
            <ac:spMk id="31" creationId="{541219AF-7231-4D85-AEEA-84AB564D7731}"/>
          </ac:spMkLst>
        </pc:spChg>
        <pc:spChg chg="mod">
          <ac:chgData name="Zenos Zenica" userId="de3ee720dba36952" providerId="Windows Live" clId="Web-{87EC33F8-20F9-4A9B-8B0C-47C86D280FAD}" dt="2020-11-23T11:39:46.352" v="1458" actId="20577"/>
          <ac:spMkLst>
            <pc:docMk/>
            <pc:sldMk cId="1899659062" sldId="346"/>
            <ac:spMk id="32" creationId="{EA0BC6A4-4511-49F4-AAAC-3EDC0F0ECDF7}"/>
          </ac:spMkLst>
        </pc:spChg>
        <pc:spChg chg="mod">
          <ac:chgData name="Zenos Zenica" userId="de3ee720dba36952" providerId="Windows Live" clId="Web-{87EC33F8-20F9-4A9B-8B0C-47C86D280FAD}" dt="2020-11-23T11:38:17.005" v="1415" actId="14100"/>
          <ac:spMkLst>
            <pc:docMk/>
            <pc:sldMk cId="1899659062" sldId="346"/>
            <ac:spMk id="33" creationId="{AF55BD10-3706-4355-B254-BEEDFC25B39B}"/>
          </ac:spMkLst>
        </pc:spChg>
        <pc:spChg chg="mod">
          <ac:chgData name="Zenos Zenica" userId="de3ee720dba36952" providerId="Windows Live" clId="Web-{87EC33F8-20F9-4A9B-8B0C-47C86D280FAD}" dt="2020-11-23T11:39:54.274" v="1460" actId="20577"/>
          <ac:spMkLst>
            <pc:docMk/>
            <pc:sldMk cId="1899659062" sldId="346"/>
            <ac:spMk id="34" creationId="{69EBEA4B-F480-40C6-8763-63BCBFB0B2EE}"/>
          </ac:spMkLst>
        </pc:spChg>
        <pc:spChg chg="mod">
          <ac:chgData name="Zenos Zenica" userId="de3ee720dba36952" providerId="Windows Live" clId="Web-{87EC33F8-20F9-4A9B-8B0C-47C86D280FAD}" dt="2020-11-23T11:38:43.756" v="1444"/>
          <ac:spMkLst>
            <pc:docMk/>
            <pc:sldMk cId="1899659062" sldId="346"/>
            <ac:spMk id="35" creationId="{CD656288-28BA-4D67-9430-3E342764AA04}"/>
          </ac:spMkLst>
        </pc:spChg>
        <pc:spChg chg="mod">
          <ac:chgData name="Zenos Zenica" userId="de3ee720dba36952" providerId="Windows Live" clId="Web-{87EC33F8-20F9-4A9B-8B0C-47C86D280FAD}" dt="2020-11-23T11:38:43.772" v="1445"/>
          <ac:spMkLst>
            <pc:docMk/>
            <pc:sldMk cId="1899659062" sldId="346"/>
            <ac:spMk id="36" creationId="{A1BD55F8-211E-4282-A9EF-9E433E8858F2}"/>
          </ac:spMkLst>
        </pc:spChg>
        <pc:spChg chg="mod">
          <ac:chgData name="Zenos Zenica" userId="de3ee720dba36952" providerId="Windows Live" clId="Web-{87EC33F8-20F9-4A9B-8B0C-47C86D280FAD}" dt="2020-11-23T11:38:43.803" v="1446"/>
          <ac:spMkLst>
            <pc:docMk/>
            <pc:sldMk cId="1899659062" sldId="346"/>
            <ac:spMk id="37" creationId="{A3F0BEAD-3DCB-4B2B-A045-88A5FF4A7EA2}"/>
          </ac:spMkLst>
        </pc:spChg>
        <pc:spChg chg="mod">
          <ac:chgData name="Zenos Zenica" userId="de3ee720dba36952" providerId="Windows Live" clId="Web-{87EC33F8-20F9-4A9B-8B0C-47C86D280FAD}" dt="2020-11-23T11:38:43.819" v="1447"/>
          <ac:spMkLst>
            <pc:docMk/>
            <pc:sldMk cId="1899659062" sldId="346"/>
            <ac:spMk id="38" creationId="{66E5971D-93E9-4F8B-AE27-23B099D5AD33}"/>
          </ac:spMkLst>
        </pc:spChg>
        <pc:spChg chg="mod">
          <ac:chgData name="Zenos Zenica" userId="de3ee720dba36952" providerId="Windows Live" clId="Web-{87EC33F8-20F9-4A9B-8B0C-47C86D280FAD}" dt="2020-11-23T11:38:43.850" v="1448"/>
          <ac:spMkLst>
            <pc:docMk/>
            <pc:sldMk cId="1899659062" sldId="346"/>
            <ac:spMk id="39" creationId="{A6410869-2043-4D10-97B2-0624AF83C68C}"/>
          </ac:spMkLst>
        </pc:spChg>
        <pc:spChg chg="mod">
          <ac:chgData name="Zenos Zenica" userId="de3ee720dba36952" providerId="Windows Live" clId="Web-{87EC33F8-20F9-4A9B-8B0C-47C86D280FAD}" dt="2020-11-23T11:38:43.866" v="1449"/>
          <ac:spMkLst>
            <pc:docMk/>
            <pc:sldMk cId="1899659062" sldId="346"/>
            <ac:spMk id="40" creationId="{4F4EB2D6-AD44-4BA5-BADC-A0A930AFB7C7}"/>
          </ac:spMkLst>
        </pc:spChg>
        <pc:spChg chg="mod">
          <ac:chgData name="Zenos Zenica" userId="de3ee720dba36952" providerId="Windows Live" clId="Web-{87EC33F8-20F9-4A9B-8B0C-47C86D280FAD}" dt="2020-11-23T11:38:43.897" v="1450"/>
          <ac:spMkLst>
            <pc:docMk/>
            <pc:sldMk cId="1899659062" sldId="346"/>
            <ac:spMk id="41" creationId="{433EC9BD-65B1-4D37-B427-D8FB4F315BB9}"/>
          </ac:spMkLst>
        </pc:spChg>
        <pc:spChg chg="mod">
          <ac:chgData name="Zenos Zenica" userId="de3ee720dba36952" providerId="Windows Live" clId="Web-{87EC33F8-20F9-4A9B-8B0C-47C86D280FAD}" dt="2020-11-23T11:38:43.928" v="1451"/>
          <ac:spMkLst>
            <pc:docMk/>
            <pc:sldMk cId="1899659062" sldId="346"/>
            <ac:spMk id="42" creationId="{4BECA545-7965-49FB-B838-1397AEE572F8}"/>
          </ac:spMkLst>
        </pc:spChg>
        <pc:spChg chg="mod">
          <ac:chgData name="Zenos Zenica" userId="de3ee720dba36952" providerId="Windows Live" clId="Web-{87EC33F8-20F9-4A9B-8B0C-47C86D280FAD}" dt="2020-11-23T11:38:43.944" v="1452"/>
          <ac:spMkLst>
            <pc:docMk/>
            <pc:sldMk cId="1899659062" sldId="346"/>
            <ac:spMk id="43" creationId="{723CDEF9-51B3-4030-8645-A97C2414595B}"/>
          </ac:spMkLst>
        </pc:spChg>
        <pc:spChg chg="mod">
          <ac:chgData name="Zenos Zenica" userId="de3ee720dba36952" providerId="Windows Live" clId="Web-{87EC33F8-20F9-4A9B-8B0C-47C86D280FAD}" dt="2020-11-23T11:38:43.975" v="1453"/>
          <ac:spMkLst>
            <pc:docMk/>
            <pc:sldMk cId="1899659062" sldId="346"/>
            <ac:spMk id="44" creationId="{BDB70FC9-AFAF-4C13-8EC0-2CCCFE3A839A}"/>
          </ac:spMkLst>
        </pc:spChg>
        <pc:spChg chg="mod">
          <ac:chgData name="Zenos Zenica" userId="de3ee720dba36952" providerId="Windows Live" clId="Web-{87EC33F8-20F9-4A9B-8B0C-47C86D280FAD}" dt="2020-11-23T11:38:43.991" v="1454"/>
          <ac:spMkLst>
            <pc:docMk/>
            <pc:sldMk cId="1899659062" sldId="346"/>
            <ac:spMk id="45" creationId="{24DE69D9-CB2E-4B15-A171-A1C731F20958}"/>
          </ac:spMkLst>
        </pc:spChg>
        <pc:spChg chg="mod">
          <ac:chgData name="Zenos Zenica" userId="de3ee720dba36952" providerId="Windows Live" clId="Web-{87EC33F8-20F9-4A9B-8B0C-47C86D280FAD}" dt="2020-11-23T11:38:44.022" v="1455"/>
          <ac:spMkLst>
            <pc:docMk/>
            <pc:sldMk cId="1899659062" sldId="346"/>
            <ac:spMk id="46" creationId="{271FAAC0-6CFD-43AD-840A-DF329A02722A}"/>
          </ac:spMkLst>
        </pc:spChg>
        <pc:spChg chg="mod">
          <ac:chgData name="Zenos Zenica" userId="de3ee720dba36952" providerId="Windows Live" clId="Web-{87EC33F8-20F9-4A9B-8B0C-47C86D280FAD}" dt="2020-11-23T11:38:44.037" v="1456"/>
          <ac:spMkLst>
            <pc:docMk/>
            <pc:sldMk cId="1899659062" sldId="346"/>
            <ac:spMk id="47" creationId="{4E90BEB9-2F27-4213-A751-C4144271E858}"/>
          </ac:spMkLst>
        </pc:spChg>
        <pc:cxnChg chg="mod">
          <ac:chgData name="Zenos Zenica" userId="de3ee720dba36952" providerId="Windows Live" clId="Web-{87EC33F8-20F9-4A9B-8B0C-47C86D280FAD}" dt="2020-11-23T11:38:18.099" v="1440" actId="14100"/>
          <ac:cxnSpMkLst>
            <pc:docMk/>
            <pc:sldMk cId="1899659062" sldId="346"/>
            <ac:cxnSpMk id="7" creationId="{603779D5-5B18-48BC-94DA-0EF1783FE7BF}"/>
          </ac:cxnSpMkLst>
        </pc:cxnChg>
        <pc:cxnChg chg="mod">
          <ac:chgData name="Zenos Zenica" userId="de3ee720dba36952" providerId="Windows Live" clId="Web-{87EC33F8-20F9-4A9B-8B0C-47C86D280FAD}" dt="2020-11-23T11:38:17.630" v="1433" actId="14100"/>
          <ac:cxnSpMkLst>
            <pc:docMk/>
            <pc:sldMk cId="1899659062" sldId="346"/>
            <ac:cxnSpMk id="20" creationId="{5AEF793C-7643-4AB8-A064-B13AB4AECAD4}"/>
          </ac:cxnSpMkLst>
        </pc:cxnChg>
        <pc:cxnChg chg="mod">
          <ac:chgData name="Zenos Zenica" userId="de3ee720dba36952" providerId="Windows Live" clId="Web-{87EC33F8-20F9-4A9B-8B0C-47C86D280FAD}" dt="2020-11-23T11:38:17.427" v="1431" actId="14100"/>
          <ac:cxnSpMkLst>
            <pc:docMk/>
            <pc:sldMk cId="1899659062" sldId="346"/>
            <ac:cxnSpMk id="21" creationId="{E4FF55ED-CFC1-4C92-BD68-5EDBB930BFE7}"/>
          </ac:cxnSpMkLst>
        </pc:cxnChg>
        <pc:cxnChg chg="mod">
          <ac:chgData name="Zenos Zenica" userId="de3ee720dba36952" providerId="Windows Live" clId="Web-{87EC33F8-20F9-4A9B-8B0C-47C86D280FAD}" dt="2020-11-23T11:40:51.900" v="1473" actId="1076"/>
          <ac:cxnSpMkLst>
            <pc:docMk/>
            <pc:sldMk cId="1899659062" sldId="346"/>
            <ac:cxnSpMk id="22" creationId="{8F597672-0665-4195-A210-D7632E3B8951}"/>
          </ac:cxnSpMkLst>
        </pc:cxnChg>
        <pc:cxnChg chg="mod">
          <ac:chgData name="Zenos Zenica" userId="de3ee720dba36952" providerId="Windows Live" clId="Web-{87EC33F8-20F9-4A9B-8B0C-47C86D280FAD}" dt="2020-11-23T11:38:17.334" v="1429" actId="14100"/>
          <ac:cxnSpMkLst>
            <pc:docMk/>
            <pc:sldMk cId="1899659062" sldId="346"/>
            <ac:cxnSpMk id="23" creationId="{5325C71B-D438-4169-81DC-B8D92B0C4F9B}"/>
          </ac:cxnSpMkLst>
        </pc:cxnChg>
        <pc:cxnChg chg="mod">
          <ac:chgData name="Zenos Zenica" userId="de3ee720dba36952" providerId="Windows Live" clId="Web-{87EC33F8-20F9-4A9B-8B0C-47C86D280FAD}" dt="2020-11-23T11:38:17.802" v="1436" actId="14100"/>
          <ac:cxnSpMkLst>
            <pc:docMk/>
            <pc:sldMk cId="1899659062" sldId="346"/>
            <ac:cxnSpMk id="24" creationId="{1828C4E9-0FD4-475F-BD87-23EC688AAD27}"/>
          </ac:cxnSpMkLst>
        </pc:cxnChg>
        <pc:cxnChg chg="mod">
          <ac:chgData name="Zenos Zenica" userId="de3ee720dba36952" providerId="Windows Live" clId="Web-{87EC33F8-20F9-4A9B-8B0C-47C86D280FAD}" dt="2020-11-23T11:38:17.630" v="1433" actId="14100"/>
          <ac:cxnSpMkLst>
            <pc:docMk/>
            <pc:sldMk cId="1899659062" sldId="346"/>
            <ac:cxnSpMk id="25" creationId="{EE8435AB-358C-4DA9-94CC-5D9D0EC43299}"/>
          </ac:cxnSpMkLst>
        </pc:cxnChg>
        <pc:cxnChg chg="mod">
          <ac:chgData name="Zenos Zenica" userId="de3ee720dba36952" providerId="Windows Live" clId="Web-{87EC33F8-20F9-4A9B-8B0C-47C86D280FAD}" dt="2020-11-23T11:38:17.490" v="1432" actId="14100"/>
          <ac:cxnSpMkLst>
            <pc:docMk/>
            <pc:sldMk cId="1899659062" sldId="346"/>
            <ac:cxnSpMk id="26" creationId="{74AF5596-0F4E-4927-A373-C83AB7B182AB}"/>
          </ac:cxnSpMkLst>
        </pc:cxnChg>
        <pc:cxnChg chg="mod">
          <ac:chgData name="Zenos Zenica" userId="de3ee720dba36952" providerId="Windows Live" clId="Web-{87EC33F8-20F9-4A9B-8B0C-47C86D280FAD}" dt="2020-11-23T11:40:51.900" v="1473" actId="1076"/>
          <ac:cxnSpMkLst>
            <pc:docMk/>
            <pc:sldMk cId="1899659062" sldId="346"/>
            <ac:cxnSpMk id="27" creationId="{5FA714B1-84F5-4F20-9CDE-5E1D3E206DBC}"/>
          </ac:cxnSpMkLst>
        </pc:cxnChg>
        <pc:cxnChg chg="mod">
          <ac:chgData name="Zenos Zenica" userId="de3ee720dba36952" providerId="Windows Live" clId="Web-{87EC33F8-20F9-4A9B-8B0C-47C86D280FAD}" dt="2020-11-23T11:38:17.990" v="1438" actId="14100"/>
          <ac:cxnSpMkLst>
            <pc:docMk/>
            <pc:sldMk cId="1899659062" sldId="346"/>
            <ac:cxnSpMk id="28" creationId="{2C8168A5-670E-423A-BE63-D562F301A42F}"/>
          </ac:cxnSpMkLst>
        </pc:cxnChg>
        <pc:cxnChg chg="mod">
          <ac:chgData name="Zenos Zenica" userId="de3ee720dba36952" providerId="Windows Live" clId="Web-{87EC33F8-20F9-4A9B-8B0C-47C86D280FAD}" dt="2020-11-23T11:43:38.858" v="1484" actId="1076"/>
          <ac:cxnSpMkLst>
            <pc:docMk/>
            <pc:sldMk cId="1899659062" sldId="346"/>
            <ac:cxnSpMk id="29" creationId="{13B092AE-FC8C-47FC-BC0B-063B5FCE2355}"/>
          </ac:cxnSpMkLst>
        </pc:cxnChg>
        <pc:cxnChg chg="mod">
          <ac:chgData name="Zenos Zenica" userId="de3ee720dba36952" providerId="Windows Live" clId="Web-{87EC33F8-20F9-4A9B-8B0C-47C86D280FAD}" dt="2020-11-23T11:38:18.115" v="1441" actId="14100"/>
          <ac:cxnSpMkLst>
            <pc:docMk/>
            <pc:sldMk cId="1899659062" sldId="346"/>
            <ac:cxnSpMk id="30" creationId="{6F5038EE-DD07-455F-B13D-D39553987A31}"/>
          </ac:cxnSpMkLst>
        </pc:cxnChg>
        <pc:cxnChg chg="mod">
          <ac:chgData name="Zenos Zenica" userId="de3ee720dba36952" providerId="Windows Live" clId="Web-{87EC33F8-20F9-4A9B-8B0C-47C86D280FAD}" dt="2020-11-23T11:41:19.510" v="1478" actId="1076"/>
          <ac:cxnSpMkLst>
            <pc:docMk/>
            <pc:sldMk cId="1899659062" sldId="346"/>
            <ac:cxnSpMk id="86" creationId="{984B88F0-B36A-40C8-9C6B-15511BDFF620}"/>
          </ac:cxnSpMkLst>
        </pc:cxnChg>
        <pc:cxnChg chg="mod">
          <ac:chgData name="Zenos Zenica" userId="de3ee720dba36952" providerId="Windows Live" clId="Web-{87EC33F8-20F9-4A9B-8B0C-47C86D280FAD}" dt="2020-11-23T11:44:01.343" v="1486" actId="1076"/>
          <ac:cxnSpMkLst>
            <pc:docMk/>
            <pc:sldMk cId="1899659062" sldId="346"/>
            <ac:cxnSpMk id="97" creationId="{94E2AD73-98BA-4F73-B917-257DDBEE707E}"/>
          </ac:cxnSpMkLst>
        </pc:cxnChg>
      </pc:sldChg>
      <pc:sldChg chg="new del">
        <pc:chgData name="Zenos Zenica" userId="de3ee720dba36952" providerId="Windows Live" clId="Web-{87EC33F8-20F9-4A9B-8B0C-47C86D280FAD}" dt="2020-11-23T09:17:36.123" v="162"/>
        <pc:sldMkLst>
          <pc:docMk/>
          <pc:sldMk cId="4213887325" sldId="346"/>
        </pc:sldMkLst>
      </pc:sldChg>
      <pc:sldChg chg="add del">
        <pc:chgData name="Zenos Zenica" userId="de3ee720dba36952" providerId="Windows Live" clId="Web-{87EC33F8-20F9-4A9B-8B0C-47C86D280FAD}" dt="2020-11-23T09:17:37.779" v="163"/>
        <pc:sldMkLst>
          <pc:docMk/>
          <pc:sldMk cId="2283018730" sldId="347"/>
        </pc:sldMkLst>
      </pc:sldChg>
      <pc:sldChg chg="modSp add del">
        <pc:chgData name="Zenos Zenica" userId="de3ee720dba36952" providerId="Windows Live" clId="Web-{87EC33F8-20F9-4A9B-8B0C-47C86D280FAD}" dt="2020-11-23T11:25:57.638" v="1289"/>
        <pc:sldMkLst>
          <pc:docMk/>
          <pc:sldMk cId="2518010870" sldId="347"/>
        </pc:sldMkLst>
        <pc:grpChg chg="mod">
          <ac:chgData name="Zenos Zenica" userId="de3ee720dba36952" providerId="Windows Live" clId="Web-{87EC33F8-20F9-4A9B-8B0C-47C86D280FAD}" dt="2020-11-23T11:24:56.433" v="1285" actId="1076"/>
          <ac:grpSpMkLst>
            <pc:docMk/>
            <pc:sldMk cId="2518010870" sldId="347"/>
            <ac:grpSpMk id="63" creationId="{5AA573D5-0A86-4A11-ACE1-C915D3688092}"/>
          </ac:grpSpMkLst>
        </pc:grpChg>
      </pc:sldChg>
      <pc:sldChg chg="modSp add">
        <pc:chgData name="Zenos Zenica" userId="de3ee720dba36952" providerId="Windows Live" clId="Web-{87EC33F8-20F9-4A9B-8B0C-47C86D280FAD}" dt="2020-11-23T11:58:09.634" v="1592" actId="20577"/>
        <pc:sldMkLst>
          <pc:docMk/>
          <pc:sldMk cId="3888202579" sldId="347"/>
        </pc:sldMkLst>
        <pc:spChg chg="mod">
          <ac:chgData name="Zenos Zenica" userId="de3ee720dba36952" providerId="Windows Live" clId="Web-{87EC33F8-20F9-4A9B-8B0C-47C86D280FAD}" dt="2020-11-23T11:57:34.930" v="1578" actId="1076"/>
          <ac:spMkLst>
            <pc:docMk/>
            <pc:sldMk cId="3888202579" sldId="347"/>
            <ac:spMk id="4" creationId="{B8CB9108-1583-4A1C-846B-3263D00D0833}"/>
          </ac:spMkLst>
        </pc:spChg>
        <pc:spChg chg="mod">
          <ac:chgData name="Zenos Zenica" userId="de3ee720dba36952" providerId="Windows Live" clId="Web-{87EC33F8-20F9-4A9B-8B0C-47C86D280FAD}" dt="2020-11-23T11:57:43.243" v="1579" actId="1076"/>
          <ac:spMkLst>
            <pc:docMk/>
            <pc:sldMk cId="3888202579" sldId="347"/>
            <ac:spMk id="60" creationId="{42E68939-21E1-4830-B03F-2BE91543B9CF}"/>
          </ac:spMkLst>
        </pc:spChg>
        <pc:spChg chg="mod">
          <ac:chgData name="Zenos Zenica" userId="de3ee720dba36952" providerId="Windows Live" clId="Web-{87EC33F8-20F9-4A9B-8B0C-47C86D280FAD}" dt="2020-11-23T11:57:48.431" v="1581" actId="20577"/>
          <ac:spMkLst>
            <pc:docMk/>
            <pc:sldMk cId="3888202579" sldId="347"/>
            <ac:spMk id="66" creationId="{6DA36CAD-13BA-45F2-891E-9C1C0945FC60}"/>
          </ac:spMkLst>
        </pc:spChg>
        <pc:spChg chg="mod">
          <ac:chgData name="Zenos Zenica" userId="de3ee720dba36952" providerId="Windows Live" clId="Web-{87EC33F8-20F9-4A9B-8B0C-47C86D280FAD}" dt="2020-11-23T11:57:53.321" v="1584" actId="20577"/>
          <ac:spMkLst>
            <pc:docMk/>
            <pc:sldMk cId="3888202579" sldId="347"/>
            <ac:spMk id="67" creationId="{6C14AE31-B32D-4780-9EF1-F12354D0EEF1}"/>
          </ac:spMkLst>
        </pc:spChg>
        <pc:spChg chg="mod">
          <ac:chgData name="Zenos Zenica" userId="de3ee720dba36952" providerId="Windows Live" clId="Web-{87EC33F8-20F9-4A9B-8B0C-47C86D280FAD}" dt="2020-11-23T11:57:59.197" v="1587" actId="20577"/>
          <ac:spMkLst>
            <pc:docMk/>
            <pc:sldMk cId="3888202579" sldId="347"/>
            <ac:spMk id="68" creationId="{C08C58B0-EB71-41A8-AF9D-6E8742073E8E}"/>
          </ac:spMkLst>
        </pc:spChg>
        <pc:spChg chg="mod">
          <ac:chgData name="Zenos Zenica" userId="de3ee720dba36952" providerId="Windows Live" clId="Web-{87EC33F8-20F9-4A9B-8B0C-47C86D280FAD}" dt="2020-11-23T11:58:03.666" v="1590" actId="20577"/>
          <ac:spMkLst>
            <pc:docMk/>
            <pc:sldMk cId="3888202579" sldId="347"/>
            <ac:spMk id="69" creationId="{141CCA65-AAB7-4DE3-A1BD-939C8411940A}"/>
          </ac:spMkLst>
        </pc:spChg>
        <pc:spChg chg="mod">
          <ac:chgData name="Zenos Zenica" userId="de3ee720dba36952" providerId="Windows Live" clId="Web-{87EC33F8-20F9-4A9B-8B0C-47C86D280FAD}" dt="2020-11-23T11:58:09.634" v="1592" actId="20577"/>
          <ac:spMkLst>
            <pc:docMk/>
            <pc:sldMk cId="3888202579" sldId="347"/>
            <ac:spMk id="70" creationId="{70EC203E-2336-497F-8868-911BE45F9663}"/>
          </ac:spMkLst>
        </pc:spChg>
      </pc:sldChg>
      <pc:sldChg chg="add del">
        <pc:chgData name="Zenos Zenica" userId="de3ee720dba36952" providerId="Windows Live" clId="Web-{87EC33F8-20F9-4A9B-8B0C-47C86D280FAD}" dt="2020-11-23T11:26:02.717" v="1290"/>
        <pc:sldMkLst>
          <pc:docMk/>
          <pc:sldMk cId="868428438" sldId="348"/>
        </pc:sldMkLst>
      </pc:sldChg>
      <pc:sldChg chg="add del">
        <pc:chgData name="Zenos Zenica" userId="de3ee720dba36952" providerId="Windows Live" clId="Web-{87EC33F8-20F9-4A9B-8B0C-47C86D280FAD}" dt="2020-11-23T09:17:33.232" v="161"/>
        <pc:sldMkLst>
          <pc:docMk/>
          <pc:sldMk cId="1717214870" sldId="348"/>
        </pc:sldMkLst>
      </pc:sldChg>
      <pc:sldChg chg="modSp add ord">
        <pc:chgData name="Zenos Zenica" userId="de3ee720dba36952" providerId="Windows Live" clId="Web-{87EC33F8-20F9-4A9B-8B0C-47C86D280FAD}" dt="2020-11-23T12:00:59.045" v="1683" actId="14100"/>
        <pc:sldMkLst>
          <pc:docMk/>
          <pc:sldMk cId="4092473110" sldId="348"/>
        </pc:sldMkLst>
        <pc:spChg chg="mod">
          <ac:chgData name="Zenos Zenica" userId="de3ee720dba36952" providerId="Windows Live" clId="Web-{87EC33F8-20F9-4A9B-8B0C-47C86D280FAD}" dt="2020-11-23T12:00:20.576" v="1646"/>
          <ac:spMkLst>
            <pc:docMk/>
            <pc:sldMk cId="4092473110" sldId="348"/>
            <ac:spMk id="24" creationId="{FDD36281-1E25-4D30-9E84-C77A5C38F4BA}"/>
          </ac:spMkLst>
        </pc:spChg>
        <pc:spChg chg="mod">
          <ac:chgData name="Zenos Zenica" userId="de3ee720dba36952" providerId="Windows Live" clId="Web-{87EC33F8-20F9-4A9B-8B0C-47C86D280FAD}" dt="2020-11-23T12:00:20.607" v="1647"/>
          <ac:spMkLst>
            <pc:docMk/>
            <pc:sldMk cId="4092473110" sldId="348"/>
            <ac:spMk id="25" creationId="{2E9833ED-FC99-42BC-8406-06A2341CC685}"/>
          </ac:spMkLst>
        </pc:spChg>
        <pc:spChg chg="mod">
          <ac:chgData name="Zenos Zenica" userId="de3ee720dba36952" providerId="Windows Live" clId="Web-{87EC33F8-20F9-4A9B-8B0C-47C86D280FAD}" dt="2020-11-23T11:58:35.151" v="1605" actId="1076"/>
          <ac:spMkLst>
            <pc:docMk/>
            <pc:sldMk cId="4092473110" sldId="348"/>
            <ac:spMk id="27" creationId="{73F19325-1EDB-46F3-A475-347F26A8D06E}"/>
          </ac:spMkLst>
        </pc:spChg>
        <pc:spChg chg="mod">
          <ac:chgData name="Zenos Zenica" userId="de3ee720dba36952" providerId="Windows Live" clId="Web-{87EC33F8-20F9-4A9B-8B0C-47C86D280FAD}" dt="2020-11-23T12:00:21.107" v="1673"/>
          <ac:spMkLst>
            <pc:docMk/>
            <pc:sldMk cId="4092473110" sldId="348"/>
            <ac:spMk id="28" creationId="{A59B24D1-0AF7-4998-BDA2-DCF4321D59E1}"/>
          </ac:spMkLst>
        </pc:spChg>
        <pc:spChg chg="mod">
          <ac:chgData name="Zenos Zenica" userId="de3ee720dba36952" providerId="Windows Live" clId="Web-{87EC33F8-20F9-4A9B-8B0C-47C86D280FAD}" dt="2020-11-23T12:00:21.122" v="1674"/>
          <ac:spMkLst>
            <pc:docMk/>
            <pc:sldMk cId="4092473110" sldId="348"/>
            <ac:spMk id="29" creationId="{C1D69A23-7280-475E-89FB-2E1CFE036B65}"/>
          </ac:spMkLst>
        </pc:spChg>
        <pc:spChg chg="mod">
          <ac:chgData name="Zenos Zenica" userId="de3ee720dba36952" providerId="Windows Live" clId="Web-{87EC33F8-20F9-4A9B-8B0C-47C86D280FAD}" dt="2020-11-23T12:00:21.154" v="1675"/>
          <ac:spMkLst>
            <pc:docMk/>
            <pc:sldMk cId="4092473110" sldId="348"/>
            <ac:spMk id="30" creationId="{6CC106A5-E79A-410B-97CB-D5FD8BBF736B}"/>
          </ac:spMkLst>
        </pc:spChg>
        <pc:spChg chg="mod">
          <ac:chgData name="Zenos Zenica" userId="de3ee720dba36952" providerId="Windows Live" clId="Web-{87EC33F8-20F9-4A9B-8B0C-47C86D280FAD}" dt="2020-11-23T11:59:32.402" v="1627" actId="1076"/>
          <ac:spMkLst>
            <pc:docMk/>
            <pc:sldMk cId="4092473110" sldId="348"/>
            <ac:spMk id="32" creationId="{3A6765D1-A0A5-423D-9195-8762C6239F1C}"/>
          </ac:spMkLst>
        </pc:spChg>
        <pc:spChg chg="mod">
          <ac:chgData name="Zenos Zenica" userId="de3ee720dba36952" providerId="Windows Live" clId="Web-{87EC33F8-20F9-4A9B-8B0C-47C86D280FAD}" dt="2020-11-23T12:00:20.622" v="1648"/>
          <ac:spMkLst>
            <pc:docMk/>
            <pc:sldMk cId="4092473110" sldId="348"/>
            <ac:spMk id="42" creationId="{77F1EE87-03C2-4032-B6B5-6AF96811AA4D}"/>
          </ac:spMkLst>
        </pc:spChg>
        <pc:spChg chg="mod">
          <ac:chgData name="Zenos Zenica" userId="de3ee720dba36952" providerId="Windows Live" clId="Web-{87EC33F8-20F9-4A9B-8B0C-47C86D280FAD}" dt="2020-11-23T12:00:20.638" v="1649"/>
          <ac:spMkLst>
            <pc:docMk/>
            <pc:sldMk cId="4092473110" sldId="348"/>
            <ac:spMk id="43" creationId="{6A6E61BE-128F-4FFC-A420-376B8A19C41B}"/>
          </ac:spMkLst>
        </pc:spChg>
        <pc:spChg chg="mod">
          <ac:chgData name="Zenos Zenica" userId="de3ee720dba36952" providerId="Windows Live" clId="Web-{87EC33F8-20F9-4A9B-8B0C-47C86D280FAD}" dt="2020-11-23T12:00:20.654" v="1650"/>
          <ac:spMkLst>
            <pc:docMk/>
            <pc:sldMk cId="4092473110" sldId="348"/>
            <ac:spMk id="44" creationId="{A2DBF5D2-08FB-49B1-A1D4-845972FEE188}"/>
          </ac:spMkLst>
        </pc:spChg>
        <pc:spChg chg="mod">
          <ac:chgData name="Zenos Zenica" userId="de3ee720dba36952" providerId="Windows Live" clId="Web-{87EC33F8-20F9-4A9B-8B0C-47C86D280FAD}" dt="2020-11-23T12:00:35.107" v="1676" actId="14100"/>
          <ac:spMkLst>
            <pc:docMk/>
            <pc:sldMk cId="4092473110" sldId="348"/>
            <ac:spMk id="45" creationId="{2138276A-9978-4B37-97EF-DF00BC9338D0}"/>
          </ac:spMkLst>
        </pc:spChg>
        <pc:spChg chg="mod">
          <ac:chgData name="Zenos Zenica" userId="de3ee720dba36952" providerId="Windows Live" clId="Web-{87EC33F8-20F9-4A9B-8B0C-47C86D280FAD}" dt="2020-11-23T12:00:20.701" v="1652"/>
          <ac:spMkLst>
            <pc:docMk/>
            <pc:sldMk cId="4092473110" sldId="348"/>
            <ac:spMk id="46" creationId="{EF56AA4F-DA47-4B34-94BC-5272379460E7}"/>
          </ac:spMkLst>
        </pc:spChg>
        <pc:spChg chg="mod">
          <ac:chgData name="Zenos Zenica" userId="de3ee720dba36952" providerId="Windows Live" clId="Web-{87EC33F8-20F9-4A9B-8B0C-47C86D280FAD}" dt="2020-11-23T12:00:20.716" v="1653"/>
          <ac:spMkLst>
            <pc:docMk/>
            <pc:sldMk cId="4092473110" sldId="348"/>
            <ac:spMk id="47" creationId="{A026F4D4-E51E-4795-9850-E63F88879C21}"/>
          </ac:spMkLst>
        </pc:spChg>
        <pc:spChg chg="mod">
          <ac:chgData name="Zenos Zenica" userId="de3ee720dba36952" providerId="Windows Live" clId="Web-{87EC33F8-20F9-4A9B-8B0C-47C86D280FAD}" dt="2020-11-23T12:00:38.904" v="1677" actId="14100"/>
          <ac:spMkLst>
            <pc:docMk/>
            <pc:sldMk cId="4092473110" sldId="348"/>
            <ac:spMk id="48" creationId="{879A0AA7-AF6A-41B6-A622-32C84FB394C9}"/>
          </ac:spMkLst>
        </pc:spChg>
        <pc:spChg chg="mod">
          <ac:chgData name="Zenos Zenica" userId="de3ee720dba36952" providerId="Windows Live" clId="Web-{87EC33F8-20F9-4A9B-8B0C-47C86D280FAD}" dt="2020-11-23T12:00:42.045" v="1678" actId="14100"/>
          <ac:spMkLst>
            <pc:docMk/>
            <pc:sldMk cId="4092473110" sldId="348"/>
            <ac:spMk id="49" creationId="{A65579BF-7149-497B-B238-F2458C229B2D}"/>
          </ac:spMkLst>
        </pc:spChg>
        <pc:spChg chg="mod">
          <ac:chgData name="Zenos Zenica" userId="de3ee720dba36952" providerId="Windows Live" clId="Web-{87EC33F8-20F9-4A9B-8B0C-47C86D280FAD}" dt="2020-11-23T12:00:44.967" v="1679" actId="14100"/>
          <ac:spMkLst>
            <pc:docMk/>
            <pc:sldMk cId="4092473110" sldId="348"/>
            <ac:spMk id="51" creationId="{BEC1024D-362E-448E-97D1-715729F45C6F}"/>
          </ac:spMkLst>
        </pc:spChg>
        <pc:spChg chg="mod">
          <ac:chgData name="Zenos Zenica" userId="de3ee720dba36952" providerId="Windows Live" clId="Web-{87EC33F8-20F9-4A9B-8B0C-47C86D280FAD}" dt="2020-11-23T12:00:20.794" v="1657"/>
          <ac:spMkLst>
            <pc:docMk/>
            <pc:sldMk cId="4092473110" sldId="348"/>
            <ac:spMk id="62" creationId="{4F60DCE7-049F-41CC-9A40-D907D267BB8D}"/>
          </ac:spMkLst>
        </pc:spChg>
        <pc:spChg chg="mod">
          <ac:chgData name="Zenos Zenica" userId="de3ee720dba36952" providerId="Windows Live" clId="Web-{87EC33F8-20F9-4A9B-8B0C-47C86D280FAD}" dt="2020-11-23T12:00:48.733" v="1680" actId="14100"/>
          <ac:spMkLst>
            <pc:docMk/>
            <pc:sldMk cId="4092473110" sldId="348"/>
            <ac:spMk id="63" creationId="{F41A124D-CFE4-44DF-A466-4F6D87E92A4F}"/>
          </ac:spMkLst>
        </pc:spChg>
        <pc:spChg chg="mod">
          <ac:chgData name="Zenos Zenica" userId="de3ee720dba36952" providerId="Windows Live" clId="Web-{87EC33F8-20F9-4A9B-8B0C-47C86D280FAD}" dt="2020-11-23T12:00:20.826" v="1659"/>
          <ac:spMkLst>
            <pc:docMk/>
            <pc:sldMk cId="4092473110" sldId="348"/>
            <ac:spMk id="64" creationId="{2AD642B4-CD5B-410D-8D4A-A7BFA8047881}"/>
          </ac:spMkLst>
        </pc:spChg>
        <pc:spChg chg="mod">
          <ac:chgData name="Zenos Zenica" userId="de3ee720dba36952" providerId="Windows Live" clId="Web-{87EC33F8-20F9-4A9B-8B0C-47C86D280FAD}" dt="2020-11-23T12:00:51.545" v="1681" actId="14100"/>
          <ac:spMkLst>
            <pc:docMk/>
            <pc:sldMk cId="4092473110" sldId="348"/>
            <ac:spMk id="65" creationId="{D4ECC176-5179-4EE2-91CE-0506CDD697EF}"/>
          </ac:spMkLst>
        </pc:spChg>
        <pc:spChg chg="mod">
          <ac:chgData name="Zenos Zenica" userId="de3ee720dba36952" providerId="Windows Live" clId="Web-{87EC33F8-20F9-4A9B-8B0C-47C86D280FAD}" dt="2020-11-23T12:00:20.857" v="1661"/>
          <ac:spMkLst>
            <pc:docMk/>
            <pc:sldMk cId="4092473110" sldId="348"/>
            <ac:spMk id="66" creationId="{29F97140-A136-4A51-ADA6-6F6E8A2FC5EC}"/>
          </ac:spMkLst>
        </pc:spChg>
        <pc:spChg chg="mod">
          <ac:chgData name="Zenos Zenica" userId="de3ee720dba36952" providerId="Windows Live" clId="Web-{87EC33F8-20F9-4A9B-8B0C-47C86D280FAD}" dt="2020-11-23T12:00:54.764" v="1682" actId="14100"/>
          <ac:spMkLst>
            <pc:docMk/>
            <pc:sldMk cId="4092473110" sldId="348"/>
            <ac:spMk id="67" creationId="{A13B9F6E-4DA7-48AE-A5CA-DE072B3450E8}"/>
          </ac:spMkLst>
        </pc:spChg>
        <pc:spChg chg="mod">
          <ac:chgData name="Zenos Zenica" userId="de3ee720dba36952" providerId="Windows Live" clId="Web-{87EC33F8-20F9-4A9B-8B0C-47C86D280FAD}" dt="2020-11-23T12:00:20.904" v="1663"/>
          <ac:spMkLst>
            <pc:docMk/>
            <pc:sldMk cId="4092473110" sldId="348"/>
            <ac:spMk id="68" creationId="{06469C4B-44E5-4FC0-8F4A-70688C97D6B9}"/>
          </ac:spMkLst>
        </pc:spChg>
        <pc:spChg chg="mod">
          <ac:chgData name="Zenos Zenica" userId="de3ee720dba36952" providerId="Windows Live" clId="Web-{87EC33F8-20F9-4A9B-8B0C-47C86D280FAD}" dt="2020-11-23T12:00:20.919" v="1664"/>
          <ac:spMkLst>
            <pc:docMk/>
            <pc:sldMk cId="4092473110" sldId="348"/>
            <ac:spMk id="69" creationId="{71C192AE-3451-4B69-8025-48699E07C90A}"/>
          </ac:spMkLst>
        </pc:spChg>
        <pc:spChg chg="mod">
          <ac:chgData name="Zenos Zenica" userId="de3ee720dba36952" providerId="Windows Live" clId="Web-{87EC33F8-20F9-4A9B-8B0C-47C86D280FAD}" dt="2020-11-23T12:00:20.935" v="1665"/>
          <ac:spMkLst>
            <pc:docMk/>
            <pc:sldMk cId="4092473110" sldId="348"/>
            <ac:spMk id="70" creationId="{2EAE1888-B893-48F9-A72D-84A72FCCDBC2}"/>
          </ac:spMkLst>
        </pc:spChg>
        <pc:spChg chg="mod">
          <ac:chgData name="Zenos Zenica" userId="de3ee720dba36952" providerId="Windows Live" clId="Web-{87EC33F8-20F9-4A9B-8B0C-47C86D280FAD}" dt="2020-11-23T12:00:20.951" v="1666"/>
          <ac:spMkLst>
            <pc:docMk/>
            <pc:sldMk cId="4092473110" sldId="348"/>
            <ac:spMk id="71" creationId="{26EF84C7-47F3-4E7E-B7A4-EEC79B30DE24}"/>
          </ac:spMkLst>
        </pc:spChg>
        <pc:spChg chg="mod">
          <ac:chgData name="Zenos Zenica" userId="de3ee720dba36952" providerId="Windows Live" clId="Web-{87EC33F8-20F9-4A9B-8B0C-47C86D280FAD}" dt="2020-11-23T12:00:59.045" v="1683" actId="14100"/>
          <ac:spMkLst>
            <pc:docMk/>
            <pc:sldMk cId="4092473110" sldId="348"/>
            <ac:spMk id="73" creationId="{577AC415-139B-40B9-98B1-E49AF12CB957}"/>
          </ac:spMkLst>
        </pc:spChg>
        <pc:spChg chg="mod">
          <ac:chgData name="Zenos Zenica" userId="de3ee720dba36952" providerId="Windows Live" clId="Web-{87EC33F8-20F9-4A9B-8B0C-47C86D280FAD}" dt="2020-11-23T11:59:38.715" v="1629" actId="20577"/>
          <ac:spMkLst>
            <pc:docMk/>
            <pc:sldMk cId="4092473110" sldId="348"/>
            <ac:spMk id="74" creationId="{CF4E32C1-8144-49D5-9524-894A03EF7574}"/>
          </ac:spMkLst>
        </pc:spChg>
        <pc:spChg chg="mod">
          <ac:chgData name="Zenos Zenica" userId="de3ee720dba36952" providerId="Windows Live" clId="Web-{87EC33F8-20F9-4A9B-8B0C-47C86D280FAD}" dt="2020-11-23T11:59:43.106" v="1632" actId="20577"/>
          <ac:spMkLst>
            <pc:docMk/>
            <pc:sldMk cId="4092473110" sldId="348"/>
            <ac:spMk id="75" creationId="{0BF9A7EC-FF91-47AB-A2B8-23FAF0DFEDE3}"/>
          </ac:spMkLst>
        </pc:spChg>
        <pc:spChg chg="mod">
          <ac:chgData name="Zenos Zenica" userId="de3ee720dba36952" providerId="Windows Live" clId="Web-{87EC33F8-20F9-4A9B-8B0C-47C86D280FAD}" dt="2020-11-23T11:59:47.450" v="1635" actId="20577"/>
          <ac:spMkLst>
            <pc:docMk/>
            <pc:sldMk cId="4092473110" sldId="348"/>
            <ac:spMk id="76" creationId="{1246D6E5-672A-4DF5-8EA4-2B8372329F11}"/>
          </ac:spMkLst>
        </pc:spChg>
        <pc:spChg chg="mod">
          <ac:chgData name="Zenos Zenica" userId="de3ee720dba36952" providerId="Windows Live" clId="Web-{87EC33F8-20F9-4A9B-8B0C-47C86D280FAD}" dt="2020-11-23T11:59:52.544" v="1637" actId="20577"/>
          <ac:spMkLst>
            <pc:docMk/>
            <pc:sldMk cId="4092473110" sldId="348"/>
            <ac:spMk id="77" creationId="{7B589B73-B1BC-4591-8BE9-6F7D895211AC}"/>
          </ac:spMkLst>
        </pc:spChg>
        <pc:spChg chg="mod">
          <ac:chgData name="Zenos Zenica" userId="de3ee720dba36952" providerId="Windows Live" clId="Web-{87EC33F8-20F9-4A9B-8B0C-47C86D280FAD}" dt="2020-11-23T11:59:56.434" v="1640" actId="20577"/>
          <ac:spMkLst>
            <pc:docMk/>
            <pc:sldMk cId="4092473110" sldId="348"/>
            <ac:spMk id="78" creationId="{F66BADD7-012B-4648-8AA4-4E4B6F766915}"/>
          </ac:spMkLst>
        </pc:spChg>
        <pc:spChg chg="mod">
          <ac:chgData name="Zenos Zenica" userId="de3ee720dba36952" providerId="Windows Live" clId="Web-{87EC33F8-20F9-4A9B-8B0C-47C86D280FAD}" dt="2020-11-23T12:00:01.794" v="1644" actId="20577"/>
          <ac:spMkLst>
            <pc:docMk/>
            <pc:sldMk cId="4092473110" sldId="348"/>
            <ac:spMk id="79" creationId="{6D46C763-CCBE-4AAC-B27D-7E1C0FDF532E}"/>
          </ac:spMkLst>
        </pc:spChg>
        <pc:spChg chg="mod">
          <ac:chgData name="Zenos Zenica" userId="de3ee720dba36952" providerId="Windows Live" clId="Web-{87EC33F8-20F9-4A9B-8B0C-47C86D280FAD}" dt="2020-11-23T12:00:20.997" v="1668"/>
          <ac:spMkLst>
            <pc:docMk/>
            <pc:sldMk cId="4092473110" sldId="348"/>
            <ac:spMk id="80" creationId="{08D91F0E-1861-465F-8E0A-8C42F8EAB4D7}"/>
          </ac:spMkLst>
        </pc:spChg>
        <pc:spChg chg="mod">
          <ac:chgData name="Zenos Zenica" userId="de3ee720dba36952" providerId="Windows Live" clId="Web-{87EC33F8-20F9-4A9B-8B0C-47C86D280FAD}" dt="2020-11-23T12:00:21.013" v="1669"/>
          <ac:spMkLst>
            <pc:docMk/>
            <pc:sldMk cId="4092473110" sldId="348"/>
            <ac:spMk id="82" creationId="{0353F053-5A17-4C67-8709-E324FC32E88C}"/>
          </ac:spMkLst>
        </pc:spChg>
        <pc:spChg chg="mod">
          <ac:chgData name="Zenos Zenica" userId="de3ee720dba36952" providerId="Windows Live" clId="Web-{87EC33F8-20F9-4A9B-8B0C-47C86D280FAD}" dt="2020-11-23T12:00:21.029" v="1670"/>
          <ac:spMkLst>
            <pc:docMk/>
            <pc:sldMk cId="4092473110" sldId="348"/>
            <ac:spMk id="83" creationId="{56CC06DD-A12D-4A5F-9C2C-4B2081253CE6}"/>
          </ac:spMkLst>
        </pc:spChg>
        <pc:spChg chg="mod">
          <ac:chgData name="Zenos Zenica" userId="de3ee720dba36952" providerId="Windows Live" clId="Web-{87EC33F8-20F9-4A9B-8B0C-47C86D280FAD}" dt="2020-11-23T12:00:21.060" v="1671"/>
          <ac:spMkLst>
            <pc:docMk/>
            <pc:sldMk cId="4092473110" sldId="348"/>
            <ac:spMk id="84" creationId="{6BD15A6E-A6AF-4BB9-A44A-521B206A187B}"/>
          </ac:spMkLst>
        </pc:spChg>
        <pc:spChg chg="mod">
          <ac:chgData name="Zenos Zenica" userId="de3ee720dba36952" providerId="Windows Live" clId="Web-{87EC33F8-20F9-4A9B-8B0C-47C86D280FAD}" dt="2020-11-23T12:00:21.076" v="1672"/>
          <ac:spMkLst>
            <pc:docMk/>
            <pc:sldMk cId="4092473110" sldId="348"/>
            <ac:spMk id="86" creationId="{B68201F5-C7C4-456A-81AB-5D8C56CA5C0A}"/>
          </ac:spMkLst>
        </pc:spChg>
        <pc:grpChg chg="mod">
          <ac:chgData name="Zenos Zenica" userId="de3ee720dba36952" providerId="Windows Live" clId="Web-{87EC33F8-20F9-4A9B-8B0C-47C86D280FAD}" dt="2020-11-23T11:59:10.511" v="1617" actId="1076"/>
          <ac:grpSpMkLst>
            <pc:docMk/>
            <pc:sldMk cId="4092473110" sldId="348"/>
            <ac:grpSpMk id="3" creationId="{7B74D334-0DAF-4000-AACA-609675FF0363}"/>
          </ac:grpSpMkLst>
        </pc:grpChg>
      </pc:sldChg>
      <pc:sldChg chg="modSp add">
        <pc:chgData name="Zenos Zenica" userId="de3ee720dba36952" providerId="Windows Live" clId="Web-{87EC33F8-20F9-4A9B-8B0C-47C86D280FAD}" dt="2020-11-23T12:03:08.799" v="1718" actId="20577"/>
        <pc:sldMkLst>
          <pc:docMk/>
          <pc:sldMk cId="1329346244" sldId="349"/>
        </pc:sldMkLst>
        <pc:spChg chg="mod">
          <ac:chgData name="Zenos Zenica" userId="de3ee720dba36952" providerId="Windows Live" clId="Web-{87EC33F8-20F9-4A9B-8B0C-47C86D280FAD}" dt="2020-11-23T12:02:33.220" v="1699" actId="20577"/>
          <ac:spMkLst>
            <pc:docMk/>
            <pc:sldMk cId="1329346244" sldId="349"/>
            <ac:spMk id="4" creationId="{B8CB9108-1583-4A1C-846B-3263D00D0833}"/>
          </ac:spMkLst>
        </pc:spChg>
        <pc:spChg chg="mod">
          <ac:chgData name="Zenos Zenica" userId="de3ee720dba36952" providerId="Windows Live" clId="Web-{87EC33F8-20F9-4A9B-8B0C-47C86D280FAD}" dt="2020-11-23T12:02:46.361" v="1704" actId="1076"/>
          <ac:spMkLst>
            <pc:docMk/>
            <pc:sldMk cId="1329346244" sldId="349"/>
            <ac:spMk id="25" creationId="{FC7025B7-E5BE-43F0-8BCE-47C7C29514E7}"/>
          </ac:spMkLst>
        </pc:spChg>
        <pc:spChg chg="mod">
          <ac:chgData name="Zenos Zenica" userId="de3ee720dba36952" providerId="Windows Live" clId="Web-{87EC33F8-20F9-4A9B-8B0C-47C86D280FAD}" dt="2020-11-23T12:03:03.252" v="1715" actId="20577"/>
          <ac:spMkLst>
            <pc:docMk/>
            <pc:sldMk cId="1329346244" sldId="349"/>
            <ac:spMk id="27" creationId="{A3F83685-4145-4166-BE15-DD0C2D05726E}"/>
          </ac:spMkLst>
        </pc:spChg>
        <pc:spChg chg="mod">
          <ac:chgData name="Zenos Zenica" userId="de3ee720dba36952" providerId="Windows Live" clId="Web-{87EC33F8-20F9-4A9B-8B0C-47C86D280FAD}" dt="2020-11-23T12:03:08.799" v="1718" actId="20577"/>
          <ac:spMkLst>
            <pc:docMk/>
            <pc:sldMk cId="1329346244" sldId="349"/>
            <ac:spMk id="29" creationId="{8D1038B9-D6FC-4DC0-B291-0FD9090B65BE}"/>
          </ac:spMkLst>
        </pc:spChg>
        <pc:spChg chg="mod">
          <ac:chgData name="Zenos Zenica" userId="de3ee720dba36952" providerId="Windows Live" clId="Web-{87EC33F8-20F9-4A9B-8B0C-47C86D280FAD}" dt="2020-11-23T12:02:55.533" v="1712" actId="20577"/>
          <ac:spMkLst>
            <pc:docMk/>
            <pc:sldMk cId="1329346244" sldId="349"/>
            <ac:spMk id="31" creationId="{2AF1BC7B-374A-463D-A5B4-C6B8C5D86541}"/>
          </ac:spMkLst>
        </pc:spChg>
      </pc:sldChg>
      <pc:sldChg chg="add del">
        <pc:chgData name="Zenos Zenica" userId="de3ee720dba36952" providerId="Windows Live" clId="Web-{87EC33F8-20F9-4A9B-8B0C-47C86D280FAD}" dt="2020-11-23T09:17:38.857" v="164"/>
        <pc:sldMkLst>
          <pc:docMk/>
          <pc:sldMk cId="1330258871" sldId="349"/>
        </pc:sldMkLst>
      </pc:sldChg>
      <pc:sldChg chg="modSp add">
        <pc:chgData name="Zenos Zenica" userId="de3ee720dba36952" providerId="Windows Live" clId="Web-{87EC33F8-20F9-4A9B-8B0C-47C86D280FAD}" dt="2020-11-23T12:04:09.801" v="1735"/>
        <pc:sldMkLst>
          <pc:docMk/>
          <pc:sldMk cId="1076097182" sldId="350"/>
        </pc:sldMkLst>
        <pc:spChg chg="mod">
          <ac:chgData name="Zenos Zenica" userId="de3ee720dba36952" providerId="Windows Live" clId="Web-{87EC33F8-20F9-4A9B-8B0C-47C86D280FAD}" dt="2020-11-23T12:03:57.347" v="1730" actId="20577"/>
          <ac:spMkLst>
            <pc:docMk/>
            <pc:sldMk cId="1076097182" sldId="350"/>
            <ac:spMk id="4" creationId="{B8CB9108-1583-4A1C-846B-3263D00D0833}"/>
          </ac:spMkLst>
        </pc:spChg>
        <pc:graphicFrameChg chg="mod modGraphic">
          <ac:chgData name="Zenos Zenica" userId="de3ee720dba36952" providerId="Windows Live" clId="Web-{87EC33F8-20F9-4A9B-8B0C-47C86D280FAD}" dt="2020-11-23T12:04:09.801" v="1735"/>
          <ac:graphicFrameMkLst>
            <pc:docMk/>
            <pc:sldMk cId="1076097182" sldId="350"/>
            <ac:graphicFrameMk id="72" creationId="{377308A6-0CD9-4575-8764-110B9EB55692}"/>
          </ac:graphicFrameMkLst>
        </pc:graphicFrameChg>
      </pc:sldChg>
      <pc:sldChg chg="modSp add">
        <pc:chgData name="Zenos Zenica" userId="de3ee720dba36952" providerId="Windows Live" clId="Web-{87EC33F8-20F9-4A9B-8B0C-47C86D280FAD}" dt="2020-11-23T12:07:47.008" v="1828" actId="20577"/>
        <pc:sldMkLst>
          <pc:docMk/>
          <pc:sldMk cId="2201681962" sldId="351"/>
        </pc:sldMkLst>
        <pc:spChg chg="mod">
          <ac:chgData name="Zenos Zenica" userId="de3ee720dba36952" providerId="Windows Live" clId="Web-{87EC33F8-20F9-4A9B-8B0C-47C86D280FAD}" dt="2020-11-23T12:07:47.008" v="1828" actId="20577"/>
          <ac:spMkLst>
            <pc:docMk/>
            <pc:sldMk cId="2201681962" sldId="351"/>
            <ac:spMk id="4" creationId="{B8CB9108-1583-4A1C-846B-3263D00D0833}"/>
          </ac:spMkLst>
        </pc:spChg>
        <pc:spChg chg="mod">
          <ac:chgData name="Zenos Zenica" userId="de3ee720dba36952" providerId="Windows Live" clId="Web-{87EC33F8-20F9-4A9B-8B0C-47C86D280FAD}" dt="2020-11-23T12:05:07.287" v="1775"/>
          <ac:spMkLst>
            <pc:docMk/>
            <pc:sldMk cId="2201681962" sldId="351"/>
            <ac:spMk id="17" creationId="{1492E3C0-5ACF-43BF-AE37-7CA575BBB091}"/>
          </ac:spMkLst>
        </pc:spChg>
        <pc:spChg chg="mod">
          <ac:chgData name="Zenos Zenica" userId="de3ee720dba36952" providerId="Windows Live" clId="Web-{87EC33F8-20F9-4A9B-8B0C-47C86D280FAD}" dt="2020-11-23T12:06:40.207" v="1808" actId="1076"/>
          <ac:spMkLst>
            <pc:docMk/>
            <pc:sldMk cId="2201681962" sldId="351"/>
            <ac:spMk id="18" creationId="{2F88F7B4-1A6C-4AFC-BF7D-EB5B8041D69A}"/>
          </ac:spMkLst>
        </pc:spChg>
        <pc:spChg chg="mod">
          <ac:chgData name="Zenos Zenica" userId="de3ee720dba36952" providerId="Windows Live" clId="Web-{87EC33F8-20F9-4A9B-8B0C-47C86D280FAD}" dt="2020-11-23T12:05:51.647" v="1781" actId="14100"/>
          <ac:spMkLst>
            <pc:docMk/>
            <pc:sldMk cId="2201681962" sldId="351"/>
            <ac:spMk id="19" creationId="{D8F91DBF-31E8-40C3-AFEE-26350902926F}"/>
          </ac:spMkLst>
        </pc:spChg>
        <pc:spChg chg="mod">
          <ac:chgData name="Zenos Zenica" userId="de3ee720dba36952" providerId="Windows Live" clId="Web-{87EC33F8-20F9-4A9B-8B0C-47C86D280FAD}" dt="2020-11-23T12:06:19.585" v="1794" actId="14100"/>
          <ac:spMkLst>
            <pc:docMk/>
            <pc:sldMk cId="2201681962" sldId="351"/>
            <ac:spMk id="20" creationId="{80A14867-CD20-48FD-A373-DA0BF8F2A66D}"/>
          </ac:spMkLst>
        </pc:spChg>
        <pc:spChg chg="mod">
          <ac:chgData name="Zenos Zenica" userId="de3ee720dba36952" providerId="Windows Live" clId="Web-{87EC33F8-20F9-4A9B-8B0C-47C86D280FAD}" dt="2020-11-23T12:05:30.615" v="1777" actId="14100"/>
          <ac:spMkLst>
            <pc:docMk/>
            <pc:sldMk cId="2201681962" sldId="351"/>
            <ac:spMk id="21" creationId="{3ECD1910-13C8-4425-96BC-6990C516FFFE}"/>
          </ac:spMkLst>
        </pc:spChg>
        <pc:spChg chg="mod">
          <ac:chgData name="Zenos Zenica" userId="de3ee720dba36952" providerId="Windows Live" clId="Web-{87EC33F8-20F9-4A9B-8B0C-47C86D280FAD}" dt="2020-11-23T12:06:19.632" v="1795" actId="14100"/>
          <ac:spMkLst>
            <pc:docMk/>
            <pc:sldMk cId="2201681962" sldId="351"/>
            <ac:spMk id="22" creationId="{E0645C7F-C00D-4F08-BCF8-ECDD08034137}"/>
          </ac:spMkLst>
        </pc:spChg>
        <pc:spChg chg="mod">
          <ac:chgData name="Zenos Zenica" userId="de3ee720dba36952" providerId="Windows Live" clId="Web-{87EC33F8-20F9-4A9B-8B0C-47C86D280FAD}" dt="2020-11-23T12:05:34.803" v="1778" actId="14100"/>
          <ac:spMkLst>
            <pc:docMk/>
            <pc:sldMk cId="2201681962" sldId="351"/>
            <ac:spMk id="23" creationId="{24F5F4B2-899F-4627-8D85-5B54F2610EA5}"/>
          </ac:spMkLst>
        </pc:spChg>
        <pc:spChg chg="mod">
          <ac:chgData name="Zenos Zenica" userId="de3ee720dba36952" providerId="Windows Live" clId="Web-{87EC33F8-20F9-4A9B-8B0C-47C86D280FAD}" dt="2020-11-23T12:06:59.175" v="1812" actId="1076"/>
          <ac:spMkLst>
            <pc:docMk/>
            <pc:sldMk cId="2201681962" sldId="351"/>
            <ac:spMk id="24" creationId="{4AEA2723-209D-4AFE-AE0E-97BDD42DAF08}"/>
          </ac:spMkLst>
        </pc:spChg>
        <pc:spChg chg="mod">
          <ac:chgData name="Zenos Zenica" userId="de3ee720dba36952" providerId="Windows Live" clId="Web-{87EC33F8-20F9-4A9B-8B0C-47C86D280FAD}" dt="2020-11-23T12:05:40.709" v="1779" actId="14100"/>
          <ac:spMkLst>
            <pc:docMk/>
            <pc:sldMk cId="2201681962" sldId="351"/>
            <ac:spMk id="25" creationId="{5490B377-415B-434B-B71C-EACAA60F2FD9}"/>
          </ac:spMkLst>
        </pc:spChg>
        <pc:spChg chg="mod">
          <ac:chgData name="Zenos Zenica" userId="de3ee720dba36952" providerId="Windows Live" clId="Web-{87EC33F8-20F9-4A9B-8B0C-47C86D280FAD}" dt="2020-11-23T12:06:19.679" v="1797" actId="14100"/>
          <ac:spMkLst>
            <pc:docMk/>
            <pc:sldMk cId="2201681962" sldId="351"/>
            <ac:spMk id="26" creationId="{73A2F6EF-0E95-4BF3-AEAE-1051D490598D}"/>
          </ac:spMkLst>
        </pc:spChg>
        <pc:spChg chg="mod">
          <ac:chgData name="Zenos Zenica" userId="de3ee720dba36952" providerId="Windows Live" clId="Web-{87EC33F8-20F9-4A9B-8B0C-47C86D280FAD}" dt="2020-11-23T12:05:07.162" v="1767"/>
          <ac:spMkLst>
            <pc:docMk/>
            <pc:sldMk cId="2201681962" sldId="351"/>
            <ac:spMk id="32" creationId="{4A0E62F7-18B8-44D8-959E-7880E7A1E932}"/>
          </ac:spMkLst>
        </pc:spChg>
        <pc:spChg chg="mod">
          <ac:chgData name="Zenos Zenica" userId="de3ee720dba36952" providerId="Windows Live" clId="Web-{87EC33F8-20F9-4A9B-8B0C-47C86D280FAD}" dt="2020-11-23T12:05:07.146" v="1766"/>
          <ac:spMkLst>
            <pc:docMk/>
            <pc:sldMk cId="2201681962" sldId="351"/>
            <ac:spMk id="33" creationId="{B5BA8DEE-BE90-44AD-8CCC-5A2D4796671E}"/>
          </ac:spMkLst>
        </pc:spChg>
        <pc:spChg chg="mod">
          <ac:chgData name="Zenos Zenica" userId="de3ee720dba36952" providerId="Windows Live" clId="Web-{87EC33F8-20F9-4A9B-8B0C-47C86D280FAD}" dt="2020-11-23T12:06:19.711" v="1798" actId="14100"/>
          <ac:spMkLst>
            <pc:docMk/>
            <pc:sldMk cId="2201681962" sldId="351"/>
            <ac:spMk id="34" creationId="{9E8C4B57-FD37-4B78-840E-6D153CB3B704}"/>
          </ac:spMkLst>
        </pc:spChg>
        <pc:spChg chg="mod">
          <ac:chgData name="Zenos Zenica" userId="de3ee720dba36952" providerId="Windows Live" clId="Web-{87EC33F8-20F9-4A9B-8B0C-47C86D280FAD}" dt="2020-11-23T12:06:19.726" v="1799" actId="14100"/>
          <ac:spMkLst>
            <pc:docMk/>
            <pc:sldMk cId="2201681962" sldId="351"/>
            <ac:spMk id="35" creationId="{F5496BF7-C078-4C18-B82F-795F701754D2}"/>
          </ac:spMkLst>
        </pc:spChg>
        <pc:spChg chg="mod">
          <ac:chgData name="Zenos Zenica" userId="de3ee720dba36952" providerId="Windows Live" clId="Web-{87EC33F8-20F9-4A9B-8B0C-47C86D280FAD}" dt="2020-11-23T12:06:19.742" v="1800" actId="14100"/>
          <ac:spMkLst>
            <pc:docMk/>
            <pc:sldMk cId="2201681962" sldId="351"/>
            <ac:spMk id="36" creationId="{E34E5659-F598-464E-A298-857BF0C44D25}"/>
          </ac:spMkLst>
        </pc:spChg>
        <pc:spChg chg="mod">
          <ac:chgData name="Zenos Zenica" userId="de3ee720dba36952" providerId="Windows Live" clId="Web-{87EC33F8-20F9-4A9B-8B0C-47C86D280FAD}" dt="2020-11-23T12:06:19.757" v="1801" actId="14100"/>
          <ac:spMkLst>
            <pc:docMk/>
            <pc:sldMk cId="2201681962" sldId="351"/>
            <ac:spMk id="37" creationId="{86D9A180-401F-4563-9D6E-62402469BAF4}"/>
          </ac:spMkLst>
        </pc:spChg>
        <pc:spChg chg="mod">
          <ac:chgData name="Zenos Zenica" userId="de3ee720dba36952" providerId="Windows Live" clId="Web-{87EC33F8-20F9-4A9B-8B0C-47C86D280FAD}" dt="2020-11-23T12:06:48.405" v="1809" actId="20577"/>
          <ac:spMkLst>
            <pc:docMk/>
            <pc:sldMk cId="2201681962" sldId="351"/>
            <ac:spMk id="38" creationId="{E7C1F750-1F1C-4A05-99BE-8B8FBBAD535C}"/>
          </ac:spMkLst>
        </pc:spChg>
        <pc:spChg chg="mod">
          <ac:chgData name="Zenos Zenica" userId="de3ee720dba36952" providerId="Windows Live" clId="Web-{87EC33F8-20F9-4A9B-8B0C-47C86D280FAD}" dt="2020-11-23T12:06:19.804" v="1803" actId="14100"/>
          <ac:spMkLst>
            <pc:docMk/>
            <pc:sldMk cId="2201681962" sldId="351"/>
            <ac:spMk id="39" creationId="{4565241B-0259-4F78-A1EC-5D561528C49C}"/>
          </ac:spMkLst>
        </pc:spChg>
        <pc:spChg chg="mod">
          <ac:chgData name="Zenos Zenica" userId="de3ee720dba36952" providerId="Windows Live" clId="Web-{87EC33F8-20F9-4A9B-8B0C-47C86D280FAD}" dt="2020-11-23T12:06:19.820" v="1804" actId="14100"/>
          <ac:spMkLst>
            <pc:docMk/>
            <pc:sldMk cId="2201681962" sldId="351"/>
            <ac:spMk id="40" creationId="{AC4F719D-5A49-41E8-92DD-67A28B373485}"/>
          </ac:spMkLst>
        </pc:spChg>
        <pc:spChg chg="mod">
          <ac:chgData name="Zenos Zenica" userId="de3ee720dba36952" providerId="Windows Live" clId="Web-{87EC33F8-20F9-4A9B-8B0C-47C86D280FAD}" dt="2020-11-23T12:07:34.840" v="1821" actId="20577"/>
          <ac:spMkLst>
            <pc:docMk/>
            <pc:sldMk cId="2201681962" sldId="351"/>
            <ac:spMk id="41" creationId="{E70D4EB7-6268-41EC-A61A-1D925FF37BF5}"/>
          </ac:spMkLst>
        </pc:spChg>
        <pc:cxnChg chg="mod">
          <ac:chgData name="Zenos Zenica" userId="de3ee720dba36952" providerId="Windows Live" clId="Web-{87EC33F8-20F9-4A9B-8B0C-47C86D280FAD}" dt="2020-11-23T12:06:19.679" v="1797" actId="14100"/>
          <ac:cxnSpMkLst>
            <pc:docMk/>
            <pc:sldMk cId="2201681962" sldId="351"/>
            <ac:cxnSpMk id="8" creationId="{B2116C94-9CAD-42F5-AD45-FD645175CB02}"/>
          </ac:cxnSpMkLst>
        </pc:cxnChg>
        <pc:cxnChg chg="mod">
          <ac:chgData name="Zenos Zenica" userId="de3ee720dba36952" providerId="Windows Live" clId="Web-{87EC33F8-20F9-4A9B-8B0C-47C86D280FAD}" dt="2020-11-23T12:06:40.207" v="1808" actId="1076"/>
          <ac:cxnSpMkLst>
            <pc:docMk/>
            <pc:sldMk cId="2201681962" sldId="351"/>
            <ac:cxnSpMk id="12" creationId="{5DCC6894-1A49-4575-8419-54AC3B305CFC}"/>
          </ac:cxnSpMkLst>
        </pc:cxnChg>
        <pc:cxnChg chg="mod">
          <ac:chgData name="Zenos Zenica" userId="de3ee720dba36952" providerId="Windows Live" clId="Web-{87EC33F8-20F9-4A9B-8B0C-47C86D280FAD}" dt="2020-11-23T12:06:19.632" v="1795" actId="14100"/>
          <ac:cxnSpMkLst>
            <pc:docMk/>
            <pc:sldMk cId="2201681962" sldId="351"/>
            <ac:cxnSpMk id="30" creationId="{142494D4-2A11-4244-9809-BCC4BAD9381E}"/>
          </ac:cxnSpMkLst>
        </pc:cxnChg>
      </pc:sldChg>
      <pc:sldChg chg="modSp add ord">
        <pc:chgData name="Zenos Zenica" userId="de3ee720dba36952" providerId="Windows Live" clId="Web-{87EC33F8-20F9-4A9B-8B0C-47C86D280FAD}" dt="2020-11-23T12:08:57.068" v="1870" actId="14100"/>
        <pc:sldMkLst>
          <pc:docMk/>
          <pc:sldMk cId="3702684892" sldId="352"/>
        </pc:sldMkLst>
        <pc:spChg chg="mod">
          <ac:chgData name="Zenos Zenica" userId="de3ee720dba36952" providerId="Windows Live" clId="Web-{87EC33F8-20F9-4A9B-8B0C-47C86D280FAD}" dt="2020-11-23T12:08:57.068" v="1870" actId="14100"/>
          <ac:spMkLst>
            <pc:docMk/>
            <pc:sldMk cId="3702684892" sldId="352"/>
            <ac:spMk id="4" creationId="{B8CB9108-1583-4A1C-846B-3263D00D0833}"/>
          </ac:spMkLst>
        </pc:spChg>
        <pc:spChg chg="mod">
          <ac:chgData name="Zenos Zenica" userId="de3ee720dba36952" providerId="Windows Live" clId="Web-{87EC33F8-20F9-4A9B-8B0C-47C86D280FAD}" dt="2020-11-23T12:07:58.165" v="1831"/>
          <ac:spMkLst>
            <pc:docMk/>
            <pc:sldMk cId="3702684892" sldId="352"/>
            <ac:spMk id="42" creationId="{9C233EDF-A62B-49A4-9A33-F20190F12FF4}"/>
          </ac:spMkLst>
        </pc:spChg>
        <pc:spChg chg="mod">
          <ac:chgData name="Zenos Zenica" userId="de3ee720dba36952" providerId="Windows Live" clId="Web-{87EC33F8-20F9-4A9B-8B0C-47C86D280FAD}" dt="2020-11-23T12:07:58.180" v="1832"/>
          <ac:spMkLst>
            <pc:docMk/>
            <pc:sldMk cId="3702684892" sldId="352"/>
            <ac:spMk id="43" creationId="{1324A4B9-8D88-402A-9A61-553034EF06F9}"/>
          </ac:spMkLst>
        </pc:spChg>
        <pc:spChg chg="mod">
          <ac:chgData name="Zenos Zenica" userId="de3ee720dba36952" providerId="Windows Live" clId="Web-{87EC33F8-20F9-4A9B-8B0C-47C86D280FAD}" dt="2020-11-23T12:07:58.192" v="1833"/>
          <ac:spMkLst>
            <pc:docMk/>
            <pc:sldMk cId="3702684892" sldId="352"/>
            <ac:spMk id="44" creationId="{03B21F54-579D-4DDE-9938-5F843A02E0EE}"/>
          </ac:spMkLst>
        </pc:spChg>
        <pc:spChg chg="mod">
          <ac:chgData name="Zenos Zenica" userId="de3ee720dba36952" providerId="Windows Live" clId="Web-{87EC33F8-20F9-4A9B-8B0C-47C86D280FAD}" dt="2020-11-23T12:07:58.203" v="1834"/>
          <ac:spMkLst>
            <pc:docMk/>
            <pc:sldMk cId="3702684892" sldId="352"/>
            <ac:spMk id="45" creationId="{415980C7-EB98-442F-B252-56448E12B071}"/>
          </ac:spMkLst>
        </pc:spChg>
        <pc:spChg chg="mod">
          <ac:chgData name="Zenos Zenica" userId="de3ee720dba36952" providerId="Windows Live" clId="Web-{87EC33F8-20F9-4A9B-8B0C-47C86D280FAD}" dt="2020-11-23T12:07:58.214" v="1835"/>
          <ac:spMkLst>
            <pc:docMk/>
            <pc:sldMk cId="3702684892" sldId="352"/>
            <ac:spMk id="46" creationId="{C82CB794-0457-4CF9-9B68-162CB57104A3}"/>
          </ac:spMkLst>
        </pc:spChg>
        <pc:spChg chg="mod">
          <ac:chgData name="Zenos Zenica" userId="de3ee720dba36952" providerId="Windows Live" clId="Web-{87EC33F8-20F9-4A9B-8B0C-47C86D280FAD}" dt="2020-11-23T12:07:58.225" v="1836"/>
          <ac:spMkLst>
            <pc:docMk/>
            <pc:sldMk cId="3702684892" sldId="352"/>
            <ac:spMk id="47" creationId="{E812E71A-0B46-4835-B376-31E7B28C108A}"/>
          </ac:spMkLst>
        </pc:spChg>
        <pc:spChg chg="mod">
          <ac:chgData name="Zenos Zenica" userId="de3ee720dba36952" providerId="Windows Live" clId="Web-{87EC33F8-20F9-4A9B-8B0C-47C86D280FAD}" dt="2020-11-23T12:07:58.236" v="1837"/>
          <ac:spMkLst>
            <pc:docMk/>
            <pc:sldMk cId="3702684892" sldId="352"/>
            <ac:spMk id="48" creationId="{484D4BF9-926A-4C21-A14F-3411CA991DD2}"/>
          </ac:spMkLst>
        </pc:spChg>
        <pc:spChg chg="mod">
          <ac:chgData name="Zenos Zenica" userId="de3ee720dba36952" providerId="Windows Live" clId="Web-{87EC33F8-20F9-4A9B-8B0C-47C86D280FAD}" dt="2020-11-23T12:07:58.247" v="1838"/>
          <ac:spMkLst>
            <pc:docMk/>
            <pc:sldMk cId="3702684892" sldId="352"/>
            <ac:spMk id="49" creationId="{FD50AAAF-4ACA-4524-92E3-73568B8BEEA0}"/>
          </ac:spMkLst>
        </pc:spChg>
        <pc:spChg chg="mod">
          <ac:chgData name="Zenos Zenica" userId="de3ee720dba36952" providerId="Windows Live" clId="Web-{87EC33F8-20F9-4A9B-8B0C-47C86D280FAD}" dt="2020-11-23T12:07:58.260" v="1839"/>
          <ac:spMkLst>
            <pc:docMk/>
            <pc:sldMk cId="3702684892" sldId="352"/>
            <ac:spMk id="50" creationId="{4DE1B283-3240-4275-B8DE-D4B5B7FC127A}"/>
          </ac:spMkLst>
        </pc:spChg>
        <pc:spChg chg="mod">
          <ac:chgData name="Zenos Zenica" userId="de3ee720dba36952" providerId="Windows Live" clId="Web-{87EC33F8-20F9-4A9B-8B0C-47C86D280FAD}" dt="2020-11-23T12:07:58.272" v="1840"/>
          <ac:spMkLst>
            <pc:docMk/>
            <pc:sldMk cId="3702684892" sldId="352"/>
            <ac:spMk id="51" creationId="{DC40C1A5-08D6-4A31-B903-77E9C163448B}"/>
          </ac:spMkLst>
        </pc:spChg>
        <pc:spChg chg="mod">
          <ac:chgData name="Zenos Zenica" userId="de3ee720dba36952" providerId="Windows Live" clId="Web-{87EC33F8-20F9-4A9B-8B0C-47C86D280FAD}" dt="2020-11-23T12:07:58.285" v="1841"/>
          <ac:spMkLst>
            <pc:docMk/>
            <pc:sldMk cId="3702684892" sldId="352"/>
            <ac:spMk id="52" creationId="{2B7FFCA3-8832-494D-A5F9-C736602BD185}"/>
          </ac:spMkLst>
        </pc:spChg>
        <pc:spChg chg="mod">
          <ac:chgData name="Zenos Zenica" userId="de3ee720dba36952" providerId="Windows Live" clId="Web-{87EC33F8-20F9-4A9B-8B0C-47C86D280FAD}" dt="2020-11-23T12:07:58.302" v="1842"/>
          <ac:spMkLst>
            <pc:docMk/>
            <pc:sldMk cId="3702684892" sldId="352"/>
            <ac:spMk id="53" creationId="{0B0B5F43-4472-42D3-A87B-855FEAF4CDFD}"/>
          </ac:spMkLst>
        </pc:spChg>
        <pc:spChg chg="mod">
          <ac:chgData name="Zenos Zenica" userId="de3ee720dba36952" providerId="Windows Live" clId="Web-{87EC33F8-20F9-4A9B-8B0C-47C86D280FAD}" dt="2020-11-23T12:07:58.318" v="1843"/>
          <ac:spMkLst>
            <pc:docMk/>
            <pc:sldMk cId="3702684892" sldId="352"/>
            <ac:spMk id="54" creationId="{358B3BD9-1B5D-4144-B1AA-3660E3A8884E}"/>
          </ac:spMkLst>
        </pc:spChg>
        <pc:spChg chg="mod">
          <ac:chgData name="Zenos Zenica" userId="de3ee720dba36952" providerId="Windows Live" clId="Web-{87EC33F8-20F9-4A9B-8B0C-47C86D280FAD}" dt="2020-11-23T12:07:58.329" v="1844"/>
          <ac:spMkLst>
            <pc:docMk/>
            <pc:sldMk cId="3702684892" sldId="352"/>
            <ac:spMk id="55" creationId="{E1519BCE-6A7C-45C7-B8EE-5AE83D30273E}"/>
          </ac:spMkLst>
        </pc:spChg>
        <pc:spChg chg="mod">
          <ac:chgData name="Zenos Zenica" userId="de3ee720dba36952" providerId="Windows Live" clId="Web-{87EC33F8-20F9-4A9B-8B0C-47C86D280FAD}" dt="2020-11-23T12:07:58.340" v="1845"/>
          <ac:spMkLst>
            <pc:docMk/>
            <pc:sldMk cId="3702684892" sldId="352"/>
            <ac:spMk id="56" creationId="{683D4601-BA8E-41C3-BCA1-90200A27A667}"/>
          </ac:spMkLst>
        </pc:spChg>
        <pc:spChg chg="mod">
          <ac:chgData name="Zenos Zenica" userId="de3ee720dba36952" providerId="Windows Live" clId="Web-{87EC33F8-20F9-4A9B-8B0C-47C86D280FAD}" dt="2020-11-23T12:08:19.211" v="1861" actId="1076"/>
          <ac:spMkLst>
            <pc:docMk/>
            <pc:sldMk cId="3702684892" sldId="352"/>
            <ac:spMk id="57" creationId="{ECA2F8E6-ED24-47E7-B7B3-572F3DBE799B}"/>
          </ac:spMkLst>
        </pc:spChg>
        <pc:spChg chg="mod">
          <ac:chgData name="Zenos Zenica" userId="de3ee720dba36952" providerId="Windows Live" clId="Web-{87EC33F8-20F9-4A9B-8B0C-47C86D280FAD}" dt="2020-11-23T12:07:58.365" v="1847"/>
          <ac:spMkLst>
            <pc:docMk/>
            <pc:sldMk cId="3702684892" sldId="352"/>
            <ac:spMk id="58" creationId="{891D1289-37E0-46DE-B247-F395980F8133}"/>
          </ac:spMkLst>
        </pc:spChg>
        <pc:spChg chg="mod">
          <ac:chgData name="Zenos Zenica" userId="de3ee720dba36952" providerId="Windows Live" clId="Web-{87EC33F8-20F9-4A9B-8B0C-47C86D280FAD}" dt="2020-11-23T12:08:36.121" v="1863" actId="1076"/>
          <ac:spMkLst>
            <pc:docMk/>
            <pc:sldMk cId="3702684892" sldId="352"/>
            <ac:spMk id="59" creationId="{0482A1AE-4A44-4379-8A75-A32EF6697430}"/>
          </ac:spMkLst>
        </pc:spChg>
        <pc:spChg chg="mod">
          <ac:chgData name="Zenos Zenica" userId="de3ee720dba36952" providerId="Windows Live" clId="Web-{87EC33F8-20F9-4A9B-8B0C-47C86D280FAD}" dt="2020-11-23T12:08:11.623" v="1860" actId="1076"/>
          <ac:spMkLst>
            <pc:docMk/>
            <pc:sldMk cId="3702684892" sldId="352"/>
            <ac:spMk id="60" creationId="{0B2B1D00-322C-4A2A-9BB5-F7102CB793EC}"/>
          </ac:spMkLst>
        </pc:spChg>
        <pc:spChg chg="mod">
          <ac:chgData name="Zenos Zenica" userId="de3ee720dba36952" providerId="Windows Live" clId="Web-{87EC33F8-20F9-4A9B-8B0C-47C86D280FAD}" dt="2020-11-23T12:08:43.846" v="1864" actId="1076"/>
          <ac:spMkLst>
            <pc:docMk/>
            <pc:sldMk cId="3702684892" sldId="352"/>
            <ac:spMk id="61" creationId="{224C32E0-F119-4A8E-B1DF-9FAE34F34BEA}"/>
          </ac:spMkLst>
        </pc:spChg>
        <pc:spChg chg="mod">
          <ac:chgData name="Zenos Zenica" userId="de3ee720dba36952" providerId="Windows Live" clId="Web-{87EC33F8-20F9-4A9B-8B0C-47C86D280FAD}" dt="2020-11-23T12:08:24.229" v="1862" actId="1076"/>
          <ac:spMkLst>
            <pc:docMk/>
            <pc:sldMk cId="3702684892" sldId="352"/>
            <ac:spMk id="62" creationId="{14E08276-DA83-4B01-8785-1EEB7B7A119E}"/>
          </ac:spMkLst>
        </pc:spChg>
        <pc:spChg chg="mod">
          <ac:chgData name="Zenos Zenica" userId="de3ee720dba36952" providerId="Windows Live" clId="Web-{87EC33F8-20F9-4A9B-8B0C-47C86D280FAD}" dt="2020-11-23T12:07:58.429" v="1852"/>
          <ac:spMkLst>
            <pc:docMk/>
            <pc:sldMk cId="3702684892" sldId="352"/>
            <ac:spMk id="63" creationId="{5CA3366C-4790-4630-9AD3-89202D826674}"/>
          </ac:spMkLst>
        </pc:spChg>
        <pc:spChg chg="mod">
          <ac:chgData name="Zenos Zenica" userId="de3ee720dba36952" providerId="Windows Live" clId="Web-{87EC33F8-20F9-4A9B-8B0C-47C86D280FAD}" dt="2020-11-23T12:07:58.442" v="1853"/>
          <ac:spMkLst>
            <pc:docMk/>
            <pc:sldMk cId="3702684892" sldId="352"/>
            <ac:spMk id="64" creationId="{4D77EC7A-C407-492C-A833-50CF4301C950}"/>
          </ac:spMkLst>
        </pc:spChg>
        <pc:spChg chg="mod">
          <ac:chgData name="Zenos Zenica" userId="de3ee720dba36952" providerId="Windows Live" clId="Web-{87EC33F8-20F9-4A9B-8B0C-47C86D280FAD}" dt="2020-11-23T12:07:58.454" v="1854"/>
          <ac:spMkLst>
            <pc:docMk/>
            <pc:sldMk cId="3702684892" sldId="352"/>
            <ac:spMk id="65" creationId="{A845C0A5-EC93-4884-AB9E-9E12C9F12BB4}"/>
          </ac:spMkLst>
        </pc:spChg>
        <pc:spChg chg="mod">
          <ac:chgData name="Zenos Zenica" userId="de3ee720dba36952" providerId="Windows Live" clId="Web-{87EC33F8-20F9-4A9B-8B0C-47C86D280FAD}" dt="2020-11-23T12:07:58.466" v="1855"/>
          <ac:spMkLst>
            <pc:docMk/>
            <pc:sldMk cId="3702684892" sldId="352"/>
            <ac:spMk id="66" creationId="{CCBC3F26-4677-4200-8DA9-6B2D3E935F41}"/>
          </ac:spMkLst>
        </pc:spChg>
        <pc:spChg chg="mod">
          <ac:chgData name="Zenos Zenica" userId="de3ee720dba36952" providerId="Windows Live" clId="Web-{87EC33F8-20F9-4A9B-8B0C-47C86D280FAD}" dt="2020-11-23T12:07:58.477" v="1856"/>
          <ac:spMkLst>
            <pc:docMk/>
            <pc:sldMk cId="3702684892" sldId="352"/>
            <ac:spMk id="67" creationId="{C15DF3D8-689B-4F42-BE3A-9EA6C5BCDBA2}"/>
          </ac:spMkLst>
        </pc:spChg>
        <pc:spChg chg="mod">
          <ac:chgData name="Zenos Zenica" userId="de3ee720dba36952" providerId="Windows Live" clId="Web-{87EC33F8-20F9-4A9B-8B0C-47C86D280FAD}" dt="2020-11-23T12:07:58.489" v="1857"/>
          <ac:spMkLst>
            <pc:docMk/>
            <pc:sldMk cId="3702684892" sldId="352"/>
            <ac:spMk id="68" creationId="{8EE60291-B51D-48BF-B8F6-169C5C6FF008}"/>
          </ac:spMkLst>
        </pc:spChg>
        <pc:spChg chg="mod">
          <ac:chgData name="Zenos Zenica" userId="de3ee720dba36952" providerId="Windows Live" clId="Web-{87EC33F8-20F9-4A9B-8B0C-47C86D280FAD}" dt="2020-11-23T12:07:58.501" v="1858"/>
          <ac:spMkLst>
            <pc:docMk/>
            <pc:sldMk cId="3702684892" sldId="352"/>
            <ac:spMk id="69" creationId="{CA25C062-4462-4566-A3F9-B5DF68C0371F}"/>
          </ac:spMkLst>
        </pc:spChg>
        <pc:spChg chg="mod">
          <ac:chgData name="Zenos Zenica" userId="de3ee720dba36952" providerId="Windows Live" clId="Web-{87EC33F8-20F9-4A9B-8B0C-47C86D280FAD}" dt="2020-11-23T12:07:58.512" v="1859"/>
          <ac:spMkLst>
            <pc:docMk/>
            <pc:sldMk cId="3702684892" sldId="352"/>
            <ac:spMk id="70" creationId="{3A3B4C79-AABD-4948-B4D5-E81A5ADA2D04}"/>
          </ac:spMkLst>
        </pc:spChg>
      </pc:sldChg>
      <pc:sldChg chg="modSp add">
        <pc:chgData name="Zenos Zenica" userId="de3ee720dba36952" providerId="Windows Live" clId="Web-{87EC33F8-20F9-4A9B-8B0C-47C86D280FAD}" dt="2020-11-23T12:13:40.692" v="1921" actId="1076"/>
        <pc:sldMkLst>
          <pc:docMk/>
          <pc:sldMk cId="3585118025" sldId="353"/>
        </pc:sldMkLst>
        <pc:spChg chg="mod">
          <ac:chgData name="Zenos Zenica" userId="de3ee720dba36952" providerId="Windows Live" clId="Web-{87EC33F8-20F9-4A9B-8B0C-47C86D280FAD}" dt="2020-11-23T12:09:40.020" v="1878" actId="20577"/>
          <ac:spMkLst>
            <pc:docMk/>
            <pc:sldMk cId="3585118025" sldId="353"/>
            <ac:spMk id="4" creationId="{B8CB9108-1583-4A1C-846B-3263D00D0833}"/>
          </ac:spMkLst>
        </pc:spChg>
        <pc:spChg chg="mod">
          <ac:chgData name="Zenos Zenica" userId="de3ee720dba36952" providerId="Windows Live" clId="Web-{87EC33F8-20F9-4A9B-8B0C-47C86D280FAD}" dt="2020-11-23T12:13:04.130" v="1910" actId="14100"/>
          <ac:spMkLst>
            <pc:docMk/>
            <pc:sldMk cId="3585118025" sldId="353"/>
            <ac:spMk id="34" creationId="{533EAD79-4029-44EE-922A-6DABD593C31C}"/>
          </ac:spMkLst>
        </pc:spChg>
        <pc:spChg chg="mod">
          <ac:chgData name="Zenos Zenica" userId="de3ee720dba36952" providerId="Windows Live" clId="Web-{87EC33F8-20F9-4A9B-8B0C-47C86D280FAD}" dt="2020-11-23T12:11:54.070" v="1896" actId="1076"/>
          <ac:spMkLst>
            <pc:docMk/>
            <pc:sldMk cId="3585118025" sldId="353"/>
            <ac:spMk id="41" creationId="{AE97D648-F035-4FB2-99ED-6CFE89A9E720}"/>
          </ac:spMkLst>
        </pc:spChg>
        <pc:spChg chg="mod">
          <ac:chgData name="Zenos Zenica" userId="de3ee720dba36952" providerId="Windows Live" clId="Web-{87EC33F8-20F9-4A9B-8B0C-47C86D280FAD}" dt="2020-11-23T12:13:08.129" v="1911" actId="14100"/>
          <ac:spMkLst>
            <pc:docMk/>
            <pc:sldMk cId="3585118025" sldId="353"/>
            <ac:spMk id="72" creationId="{B0B17926-7179-480F-A939-39BB9FC09AF1}"/>
          </ac:spMkLst>
        </pc:spChg>
        <pc:spChg chg="mod">
          <ac:chgData name="Zenos Zenica" userId="de3ee720dba36952" providerId="Windows Live" clId="Web-{87EC33F8-20F9-4A9B-8B0C-47C86D280FAD}" dt="2020-11-23T12:13:14.596" v="1919" actId="20577"/>
          <ac:spMkLst>
            <pc:docMk/>
            <pc:sldMk cId="3585118025" sldId="353"/>
            <ac:spMk id="76" creationId="{6912E464-D505-41F6-8324-1E5626713A3A}"/>
          </ac:spMkLst>
        </pc:spChg>
        <pc:spChg chg="mod">
          <ac:chgData name="Zenos Zenica" userId="de3ee720dba36952" providerId="Windows Live" clId="Web-{87EC33F8-20F9-4A9B-8B0C-47C86D280FAD}" dt="2020-11-23T12:13:18.475" v="1920" actId="20577"/>
          <ac:spMkLst>
            <pc:docMk/>
            <pc:sldMk cId="3585118025" sldId="353"/>
            <ac:spMk id="77" creationId="{AD4E4DB6-5ED1-4EDD-B81C-5C8DD9AFDA60}"/>
          </ac:spMkLst>
        </pc:spChg>
        <pc:spChg chg="mod">
          <ac:chgData name="Zenos Zenica" userId="de3ee720dba36952" providerId="Windows Live" clId="Web-{87EC33F8-20F9-4A9B-8B0C-47C86D280FAD}" dt="2020-11-23T12:10:28.124" v="1885" actId="14100"/>
          <ac:spMkLst>
            <pc:docMk/>
            <pc:sldMk cId="3585118025" sldId="353"/>
            <ac:spMk id="100" creationId="{4828CF2B-D0E3-4C99-9333-51FBA80A3DE0}"/>
          </ac:spMkLst>
        </pc:spChg>
        <pc:spChg chg="mod">
          <ac:chgData name="Zenos Zenica" userId="de3ee720dba36952" providerId="Windows Live" clId="Web-{87EC33F8-20F9-4A9B-8B0C-47C86D280FAD}" dt="2020-11-23T12:11:06.195" v="1888" actId="20577"/>
          <ac:spMkLst>
            <pc:docMk/>
            <pc:sldMk cId="3585118025" sldId="353"/>
            <ac:spMk id="101" creationId="{1F121331-B9EE-43A0-8D37-FC03A4F13E2F}"/>
          </ac:spMkLst>
        </pc:spChg>
        <pc:spChg chg="mod">
          <ac:chgData name="Zenos Zenica" userId="de3ee720dba36952" providerId="Windows Live" clId="Web-{87EC33F8-20F9-4A9B-8B0C-47C86D280FAD}" dt="2020-11-23T12:10:59.626" v="1887" actId="20577"/>
          <ac:spMkLst>
            <pc:docMk/>
            <pc:sldMk cId="3585118025" sldId="353"/>
            <ac:spMk id="102" creationId="{A0000FED-6E92-42B8-BA47-345EDB9A31CB}"/>
          </ac:spMkLst>
        </pc:spChg>
        <pc:spChg chg="mod">
          <ac:chgData name="Zenos Zenica" userId="de3ee720dba36952" providerId="Windows Live" clId="Web-{87EC33F8-20F9-4A9B-8B0C-47C86D280FAD}" dt="2020-11-23T12:13:40.692" v="1921" actId="1076"/>
          <ac:spMkLst>
            <pc:docMk/>
            <pc:sldMk cId="3585118025" sldId="353"/>
            <ac:spMk id="103" creationId="{9092344C-388A-4616-89F5-8EAFC10AB22F}"/>
          </ac:spMkLst>
        </pc:spChg>
        <pc:spChg chg="mod">
          <ac:chgData name="Zenos Zenica" userId="de3ee720dba36952" providerId="Windows Live" clId="Web-{87EC33F8-20F9-4A9B-8B0C-47C86D280FAD}" dt="2020-11-23T12:11:30.313" v="1894" actId="1076"/>
          <ac:spMkLst>
            <pc:docMk/>
            <pc:sldMk cId="3585118025" sldId="353"/>
            <ac:spMk id="104" creationId="{3447823A-AC12-4EA8-8E99-3320DA809566}"/>
          </ac:spMkLst>
        </pc:spChg>
        <pc:grpChg chg="mod">
          <ac:chgData name="Zenos Zenica" userId="de3ee720dba36952" providerId="Windows Live" clId="Web-{87EC33F8-20F9-4A9B-8B0C-47C86D280FAD}" dt="2020-11-23T12:09:59.116" v="1882" actId="1076"/>
          <ac:grpSpMkLst>
            <pc:docMk/>
            <pc:sldMk cId="3585118025" sldId="353"/>
            <ac:grpSpMk id="3" creationId="{9D1F3F19-52DA-468A-9944-1184B4CBAAB2}"/>
          </ac:grpSpMkLst>
        </pc:grpChg>
        <pc:picChg chg="mod">
          <ac:chgData name="Zenos Zenica" userId="de3ee720dba36952" providerId="Windows Live" clId="Web-{87EC33F8-20F9-4A9B-8B0C-47C86D280FAD}" dt="2020-11-23T12:10:03.240" v="1883" actId="1076"/>
          <ac:picMkLst>
            <pc:docMk/>
            <pc:sldMk cId="3585118025" sldId="353"/>
            <ac:picMk id="33" creationId="{E66801E6-618E-404B-B122-DB3B83B8B589}"/>
          </ac:picMkLst>
        </pc:picChg>
      </pc:sldChg>
      <pc:sldChg chg="modSp add ord">
        <pc:chgData name="Zenos Zenica" userId="de3ee720dba36952" providerId="Windows Live" clId="Web-{87EC33F8-20F9-4A9B-8B0C-47C86D280FAD}" dt="2020-11-23T12:16:36.370" v="1956" actId="1076"/>
        <pc:sldMkLst>
          <pc:docMk/>
          <pc:sldMk cId="2251849573" sldId="354"/>
        </pc:sldMkLst>
        <pc:spChg chg="mod">
          <ac:chgData name="Zenos Zenica" userId="de3ee720dba36952" providerId="Windows Live" clId="Web-{87EC33F8-20F9-4A9B-8B0C-47C86D280FAD}" dt="2020-11-23T12:14:15.397" v="1932" actId="20577"/>
          <ac:spMkLst>
            <pc:docMk/>
            <pc:sldMk cId="2251849573" sldId="354"/>
            <ac:spMk id="4" creationId="{B8CB9108-1583-4A1C-846B-3263D00D0833}"/>
          </ac:spMkLst>
        </pc:spChg>
        <pc:spChg chg="mod">
          <ac:chgData name="Zenos Zenica" userId="de3ee720dba36952" providerId="Windows Live" clId="Web-{87EC33F8-20F9-4A9B-8B0C-47C86D280FAD}" dt="2020-11-23T12:15:06.680" v="1942" actId="20577"/>
          <ac:spMkLst>
            <pc:docMk/>
            <pc:sldMk cId="2251849573" sldId="354"/>
            <ac:spMk id="53" creationId="{89F04E0E-6200-4D6B-85E5-B64304DBEA4D}"/>
          </ac:spMkLst>
        </pc:spChg>
        <pc:spChg chg="mod">
          <ac:chgData name="Zenos Zenica" userId="de3ee720dba36952" providerId="Windows Live" clId="Web-{87EC33F8-20F9-4A9B-8B0C-47C86D280FAD}" dt="2020-11-23T12:15:45.572" v="1952" actId="20577"/>
          <ac:spMkLst>
            <pc:docMk/>
            <pc:sldMk cId="2251849573" sldId="354"/>
            <ac:spMk id="54" creationId="{5B97D2D6-5395-4C78-9417-079579A7E4D3}"/>
          </ac:spMkLst>
        </pc:spChg>
        <pc:spChg chg="mod">
          <ac:chgData name="Zenos Zenica" userId="de3ee720dba36952" providerId="Windows Live" clId="Web-{87EC33F8-20F9-4A9B-8B0C-47C86D280FAD}" dt="2020-11-23T12:15:28.337" v="1947" actId="20577"/>
          <ac:spMkLst>
            <pc:docMk/>
            <pc:sldMk cId="2251849573" sldId="354"/>
            <ac:spMk id="55" creationId="{8BEDD873-E64C-40F4-B182-FB5F5CDAD1C9}"/>
          </ac:spMkLst>
        </pc:spChg>
        <pc:spChg chg="mod">
          <ac:chgData name="Zenos Zenica" userId="de3ee720dba36952" providerId="Windows Live" clId="Web-{87EC33F8-20F9-4A9B-8B0C-47C86D280FAD}" dt="2020-11-23T12:15:13.743" v="1944" actId="20577"/>
          <ac:spMkLst>
            <pc:docMk/>
            <pc:sldMk cId="2251849573" sldId="354"/>
            <ac:spMk id="56" creationId="{3A478D9D-309E-4A47-9781-A3641C71BD29}"/>
          </ac:spMkLst>
        </pc:spChg>
        <pc:spChg chg="mod">
          <ac:chgData name="Zenos Zenica" userId="de3ee720dba36952" providerId="Windows Live" clId="Web-{87EC33F8-20F9-4A9B-8B0C-47C86D280FAD}" dt="2020-11-23T12:14:54.383" v="1939" actId="20577"/>
          <ac:spMkLst>
            <pc:docMk/>
            <pc:sldMk cId="2251849573" sldId="354"/>
            <ac:spMk id="110" creationId="{FEBC49F3-C35F-4B85-8846-9586AD9BE82E}"/>
          </ac:spMkLst>
        </pc:spChg>
        <pc:spChg chg="mod">
          <ac:chgData name="Zenos Zenica" userId="de3ee720dba36952" providerId="Windows Live" clId="Web-{87EC33F8-20F9-4A9B-8B0C-47C86D280FAD}" dt="2020-11-23T12:14:43.570" v="1935" actId="20577"/>
          <ac:spMkLst>
            <pc:docMk/>
            <pc:sldMk cId="2251849573" sldId="354"/>
            <ac:spMk id="111" creationId="{29D91A77-EE5E-4C0F-92CB-03C34DD424AF}"/>
          </ac:spMkLst>
        </pc:spChg>
        <pc:grpChg chg="mod">
          <ac:chgData name="Zenos Zenica" userId="de3ee720dba36952" providerId="Windows Live" clId="Web-{87EC33F8-20F9-4A9B-8B0C-47C86D280FAD}" dt="2020-11-23T12:15:51.181" v="1953" actId="1076"/>
          <ac:grpSpMkLst>
            <pc:docMk/>
            <pc:sldMk cId="2251849573" sldId="354"/>
            <ac:grpSpMk id="5" creationId="{1B76796B-C9AA-4190-88E6-D0119F3A7C57}"/>
          </ac:grpSpMkLst>
        </pc:grpChg>
        <pc:graphicFrameChg chg="mod">
          <ac:chgData name="Zenos Zenica" userId="de3ee720dba36952" providerId="Windows Live" clId="Web-{87EC33F8-20F9-4A9B-8B0C-47C86D280FAD}" dt="2020-11-23T12:16:36.370" v="1956" actId="1076"/>
          <ac:graphicFrameMkLst>
            <pc:docMk/>
            <pc:sldMk cId="2251849573" sldId="354"/>
            <ac:graphicFrameMk id="118" creationId="{9D0CC4C0-D041-43A8-A749-3FC5CEF351EE}"/>
          </ac:graphicFrameMkLst>
        </pc:graphicFrameChg>
      </pc:sldChg>
      <pc:sldChg chg="modSp add ord">
        <pc:chgData name="Zenos Zenica" userId="de3ee720dba36952" providerId="Windows Live" clId="Web-{87EC33F8-20F9-4A9B-8B0C-47C86D280FAD}" dt="2020-11-23T12:17:53.700" v="1997"/>
        <pc:sldMkLst>
          <pc:docMk/>
          <pc:sldMk cId="711073840" sldId="355"/>
        </pc:sldMkLst>
        <pc:spChg chg="mod">
          <ac:chgData name="Zenos Zenica" userId="de3ee720dba36952" providerId="Windows Live" clId="Web-{87EC33F8-20F9-4A9B-8B0C-47C86D280FAD}" dt="2020-11-23T12:17:42.325" v="1969" actId="1076"/>
          <ac:spMkLst>
            <pc:docMk/>
            <pc:sldMk cId="711073840" sldId="355"/>
            <ac:spMk id="4" creationId="{B8CB9108-1583-4A1C-846B-3263D00D0833}"/>
          </ac:spMkLst>
        </pc:spChg>
        <pc:spChg chg="mod">
          <ac:chgData name="Zenos Zenica" userId="de3ee720dba36952" providerId="Windows Live" clId="Web-{87EC33F8-20F9-4A9B-8B0C-47C86D280FAD}" dt="2020-11-23T12:17:53.310" v="1970"/>
          <ac:spMkLst>
            <pc:docMk/>
            <pc:sldMk cId="711073840" sldId="355"/>
            <ac:spMk id="21" creationId="{DBB4B7F1-082D-4C2B-806E-79BFDF06BCC1}"/>
          </ac:spMkLst>
        </pc:spChg>
        <pc:spChg chg="mod">
          <ac:chgData name="Zenos Zenica" userId="de3ee720dba36952" providerId="Windows Live" clId="Web-{87EC33F8-20F9-4A9B-8B0C-47C86D280FAD}" dt="2020-11-23T12:17:53.325" v="1971"/>
          <ac:spMkLst>
            <pc:docMk/>
            <pc:sldMk cId="711073840" sldId="355"/>
            <ac:spMk id="22" creationId="{94B22DDC-324D-4C7A-A0D0-EA8DA63E2F84}"/>
          </ac:spMkLst>
        </pc:spChg>
        <pc:spChg chg="mod">
          <ac:chgData name="Zenos Zenica" userId="de3ee720dba36952" providerId="Windows Live" clId="Web-{87EC33F8-20F9-4A9B-8B0C-47C86D280FAD}" dt="2020-11-23T12:17:53.341" v="1972"/>
          <ac:spMkLst>
            <pc:docMk/>
            <pc:sldMk cId="711073840" sldId="355"/>
            <ac:spMk id="24" creationId="{6E764A43-7907-47A2-B2C4-BEAE8C95A667}"/>
          </ac:spMkLst>
        </pc:spChg>
        <pc:spChg chg="mod">
          <ac:chgData name="Zenos Zenica" userId="de3ee720dba36952" providerId="Windows Live" clId="Web-{87EC33F8-20F9-4A9B-8B0C-47C86D280FAD}" dt="2020-11-23T12:17:53.357" v="1973"/>
          <ac:spMkLst>
            <pc:docMk/>
            <pc:sldMk cId="711073840" sldId="355"/>
            <ac:spMk id="25" creationId="{AA2C67E6-85E2-4E94-9223-D932F0B21E4F}"/>
          </ac:spMkLst>
        </pc:spChg>
        <pc:spChg chg="mod">
          <ac:chgData name="Zenos Zenica" userId="de3ee720dba36952" providerId="Windows Live" clId="Web-{87EC33F8-20F9-4A9B-8B0C-47C86D280FAD}" dt="2020-11-23T12:17:53.372" v="1974"/>
          <ac:spMkLst>
            <pc:docMk/>
            <pc:sldMk cId="711073840" sldId="355"/>
            <ac:spMk id="27" creationId="{B261EB75-668D-40DD-A8D3-97791B05FD36}"/>
          </ac:spMkLst>
        </pc:spChg>
        <pc:spChg chg="mod">
          <ac:chgData name="Zenos Zenica" userId="de3ee720dba36952" providerId="Windows Live" clId="Web-{87EC33F8-20F9-4A9B-8B0C-47C86D280FAD}" dt="2020-11-23T12:17:53.388" v="1975"/>
          <ac:spMkLst>
            <pc:docMk/>
            <pc:sldMk cId="711073840" sldId="355"/>
            <ac:spMk id="28" creationId="{49604B40-AF93-4136-953E-2DC49D0CCC36}"/>
          </ac:spMkLst>
        </pc:spChg>
        <pc:spChg chg="mod">
          <ac:chgData name="Zenos Zenica" userId="de3ee720dba36952" providerId="Windows Live" clId="Web-{87EC33F8-20F9-4A9B-8B0C-47C86D280FAD}" dt="2020-11-23T12:17:53.404" v="1976"/>
          <ac:spMkLst>
            <pc:docMk/>
            <pc:sldMk cId="711073840" sldId="355"/>
            <ac:spMk id="29" creationId="{0A7591FD-FC0D-4C04-9C74-8FBC9D272FA1}"/>
          </ac:spMkLst>
        </pc:spChg>
        <pc:spChg chg="mod">
          <ac:chgData name="Zenos Zenica" userId="de3ee720dba36952" providerId="Windows Live" clId="Web-{87EC33F8-20F9-4A9B-8B0C-47C86D280FAD}" dt="2020-11-23T12:17:53.419" v="1977"/>
          <ac:spMkLst>
            <pc:docMk/>
            <pc:sldMk cId="711073840" sldId="355"/>
            <ac:spMk id="31" creationId="{3E906520-B17F-480A-87A5-2A4850DB207E}"/>
          </ac:spMkLst>
        </pc:spChg>
        <pc:spChg chg="mod">
          <ac:chgData name="Zenos Zenica" userId="de3ee720dba36952" providerId="Windows Live" clId="Web-{87EC33F8-20F9-4A9B-8B0C-47C86D280FAD}" dt="2020-11-23T12:17:53.435" v="1978"/>
          <ac:spMkLst>
            <pc:docMk/>
            <pc:sldMk cId="711073840" sldId="355"/>
            <ac:spMk id="32" creationId="{547CA99F-FD5D-4122-BB63-54C35396B167}"/>
          </ac:spMkLst>
        </pc:spChg>
        <pc:spChg chg="mod">
          <ac:chgData name="Zenos Zenica" userId="de3ee720dba36952" providerId="Windows Live" clId="Web-{87EC33F8-20F9-4A9B-8B0C-47C86D280FAD}" dt="2020-11-23T12:17:53.450" v="1979"/>
          <ac:spMkLst>
            <pc:docMk/>
            <pc:sldMk cId="711073840" sldId="355"/>
            <ac:spMk id="49" creationId="{914293A5-4921-41D0-9CF0-5CCC1A952056}"/>
          </ac:spMkLst>
        </pc:spChg>
        <pc:spChg chg="mod">
          <ac:chgData name="Zenos Zenica" userId="de3ee720dba36952" providerId="Windows Live" clId="Web-{87EC33F8-20F9-4A9B-8B0C-47C86D280FAD}" dt="2020-11-23T12:17:53.466" v="1980"/>
          <ac:spMkLst>
            <pc:docMk/>
            <pc:sldMk cId="711073840" sldId="355"/>
            <ac:spMk id="51" creationId="{B374F26B-D853-42D5-86DF-259A99D3E71E}"/>
          </ac:spMkLst>
        </pc:spChg>
        <pc:spChg chg="mod">
          <ac:chgData name="Zenos Zenica" userId="de3ee720dba36952" providerId="Windows Live" clId="Web-{87EC33F8-20F9-4A9B-8B0C-47C86D280FAD}" dt="2020-11-23T12:17:53.482" v="1981"/>
          <ac:spMkLst>
            <pc:docMk/>
            <pc:sldMk cId="711073840" sldId="355"/>
            <ac:spMk id="52" creationId="{53FBD17D-7707-421A-9518-2324D64F3E68}"/>
          </ac:spMkLst>
        </pc:spChg>
        <pc:spChg chg="mod">
          <ac:chgData name="Zenos Zenica" userId="de3ee720dba36952" providerId="Windows Live" clId="Web-{87EC33F8-20F9-4A9B-8B0C-47C86D280FAD}" dt="2020-11-23T12:17:53.497" v="1982"/>
          <ac:spMkLst>
            <pc:docMk/>
            <pc:sldMk cId="711073840" sldId="355"/>
            <ac:spMk id="53" creationId="{17E2FADA-F82E-4E49-AFF3-CF3E1086258A}"/>
          </ac:spMkLst>
        </pc:spChg>
        <pc:spChg chg="mod">
          <ac:chgData name="Zenos Zenica" userId="de3ee720dba36952" providerId="Windows Live" clId="Web-{87EC33F8-20F9-4A9B-8B0C-47C86D280FAD}" dt="2020-11-23T12:17:53.513" v="1983"/>
          <ac:spMkLst>
            <pc:docMk/>
            <pc:sldMk cId="711073840" sldId="355"/>
            <ac:spMk id="54" creationId="{4652B7A9-0490-463E-8C0F-1AD4DFA1F225}"/>
          </ac:spMkLst>
        </pc:spChg>
        <pc:spChg chg="mod">
          <ac:chgData name="Zenos Zenica" userId="de3ee720dba36952" providerId="Windows Live" clId="Web-{87EC33F8-20F9-4A9B-8B0C-47C86D280FAD}" dt="2020-11-23T12:17:53.529" v="1984"/>
          <ac:spMkLst>
            <pc:docMk/>
            <pc:sldMk cId="711073840" sldId="355"/>
            <ac:spMk id="55" creationId="{87AD1332-5CB8-4888-BD27-E65B2989EDC5}"/>
          </ac:spMkLst>
        </pc:spChg>
        <pc:spChg chg="mod">
          <ac:chgData name="Zenos Zenica" userId="de3ee720dba36952" providerId="Windows Live" clId="Web-{87EC33F8-20F9-4A9B-8B0C-47C86D280FAD}" dt="2020-11-23T12:17:53.544" v="1985"/>
          <ac:spMkLst>
            <pc:docMk/>
            <pc:sldMk cId="711073840" sldId="355"/>
            <ac:spMk id="56" creationId="{1CA4B6F0-2D06-4A42-BD0B-3EA3C11AF4B9}"/>
          </ac:spMkLst>
        </pc:spChg>
        <pc:spChg chg="mod">
          <ac:chgData name="Zenos Zenica" userId="de3ee720dba36952" providerId="Windows Live" clId="Web-{87EC33F8-20F9-4A9B-8B0C-47C86D280FAD}" dt="2020-11-23T12:17:53.544" v="1986"/>
          <ac:spMkLst>
            <pc:docMk/>
            <pc:sldMk cId="711073840" sldId="355"/>
            <ac:spMk id="57" creationId="{E65A5F9F-3277-408A-92D0-7F4A4D61F70A}"/>
          </ac:spMkLst>
        </pc:spChg>
        <pc:spChg chg="mod">
          <ac:chgData name="Zenos Zenica" userId="de3ee720dba36952" providerId="Windows Live" clId="Web-{87EC33F8-20F9-4A9B-8B0C-47C86D280FAD}" dt="2020-11-23T12:17:53.560" v="1987"/>
          <ac:spMkLst>
            <pc:docMk/>
            <pc:sldMk cId="711073840" sldId="355"/>
            <ac:spMk id="58" creationId="{57A54123-BE32-4A54-89F5-F987190A11E2}"/>
          </ac:spMkLst>
        </pc:spChg>
        <pc:spChg chg="mod">
          <ac:chgData name="Zenos Zenica" userId="de3ee720dba36952" providerId="Windows Live" clId="Web-{87EC33F8-20F9-4A9B-8B0C-47C86D280FAD}" dt="2020-11-23T12:17:53.575" v="1988"/>
          <ac:spMkLst>
            <pc:docMk/>
            <pc:sldMk cId="711073840" sldId="355"/>
            <ac:spMk id="59" creationId="{F0F89850-D6A4-4443-8D2D-A1FED454B979}"/>
          </ac:spMkLst>
        </pc:spChg>
        <pc:spChg chg="mod">
          <ac:chgData name="Zenos Zenica" userId="de3ee720dba36952" providerId="Windows Live" clId="Web-{87EC33F8-20F9-4A9B-8B0C-47C86D280FAD}" dt="2020-11-23T12:17:53.591" v="1989"/>
          <ac:spMkLst>
            <pc:docMk/>
            <pc:sldMk cId="711073840" sldId="355"/>
            <ac:spMk id="60" creationId="{29BD9425-C95D-4CAE-8242-817AFB3152CD}"/>
          </ac:spMkLst>
        </pc:spChg>
        <pc:spChg chg="mod">
          <ac:chgData name="Zenos Zenica" userId="de3ee720dba36952" providerId="Windows Live" clId="Web-{87EC33F8-20F9-4A9B-8B0C-47C86D280FAD}" dt="2020-11-23T12:17:53.607" v="1990"/>
          <ac:spMkLst>
            <pc:docMk/>
            <pc:sldMk cId="711073840" sldId="355"/>
            <ac:spMk id="61" creationId="{9B0188C1-8DA1-4B32-8B35-A4F5EA16E5C1}"/>
          </ac:spMkLst>
        </pc:spChg>
        <pc:spChg chg="mod">
          <ac:chgData name="Zenos Zenica" userId="de3ee720dba36952" providerId="Windows Live" clId="Web-{87EC33F8-20F9-4A9B-8B0C-47C86D280FAD}" dt="2020-11-23T12:17:53.622" v="1991"/>
          <ac:spMkLst>
            <pc:docMk/>
            <pc:sldMk cId="711073840" sldId="355"/>
            <ac:spMk id="62" creationId="{2B804EFD-C218-4A28-A965-6261658DE351}"/>
          </ac:spMkLst>
        </pc:spChg>
        <pc:spChg chg="mod">
          <ac:chgData name="Zenos Zenica" userId="de3ee720dba36952" providerId="Windows Live" clId="Web-{87EC33F8-20F9-4A9B-8B0C-47C86D280FAD}" dt="2020-11-23T12:17:53.638" v="1992"/>
          <ac:spMkLst>
            <pc:docMk/>
            <pc:sldMk cId="711073840" sldId="355"/>
            <ac:spMk id="63" creationId="{BE3B84A4-231C-4608-8C9A-3884315ED1AF}"/>
          </ac:spMkLst>
        </pc:spChg>
        <pc:spChg chg="mod">
          <ac:chgData name="Zenos Zenica" userId="de3ee720dba36952" providerId="Windows Live" clId="Web-{87EC33F8-20F9-4A9B-8B0C-47C86D280FAD}" dt="2020-11-23T12:17:53.638" v="1993"/>
          <ac:spMkLst>
            <pc:docMk/>
            <pc:sldMk cId="711073840" sldId="355"/>
            <ac:spMk id="64" creationId="{9BBA2E5C-60EB-47C5-B992-42EB04B20165}"/>
          </ac:spMkLst>
        </pc:spChg>
        <pc:spChg chg="mod">
          <ac:chgData name="Zenos Zenica" userId="de3ee720dba36952" providerId="Windows Live" clId="Web-{87EC33F8-20F9-4A9B-8B0C-47C86D280FAD}" dt="2020-11-23T12:17:53.654" v="1994"/>
          <ac:spMkLst>
            <pc:docMk/>
            <pc:sldMk cId="711073840" sldId="355"/>
            <ac:spMk id="65" creationId="{3EDBF91F-3268-418D-BBF1-D2A887D7ACF6}"/>
          </ac:spMkLst>
        </pc:spChg>
        <pc:spChg chg="mod">
          <ac:chgData name="Zenos Zenica" userId="de3ee720dba36952" providerId="Windows Live" clId="Web-{87EC33F8-20F9-4A9B-8B0C-47C86D280FAD}" dt="2020-11-23T12:17:53.669" v="1995"/>
          <ac:spMkLst>
            <pc:docMk/>
            <pc:sldMk cId="711073840" sldId="355"/>
            <ac:spMk id="66" creationId="{A302633B-504E-42CF-B57B-98CEE520017C}"/>
          </ac:spMkLst>
        </pc:spChg>
        <pc:spChg chg="mod">
          <ac:chgData name="Zenos Zenica" userId="de3ee720dba36952" providerId="Windows Live" clId="Web-{87EC33F8-20F9-4A9B-8B0C-47C86D280FAD}" dt="2020-11-23T12:17:53.685" v="1996"/>
          <ac:spMkLst>
            <pc:docMk/>
            <pc:sldMk cId="711073840" sldId="355"/>
            <ac:spMk id="67" creationId="{52C378A8-80DF-4799-96C7-6ECF736DA5AF}"/>
          </ac:spMkLst>
        </pc:spChg>
        <pc:spChg chg="mod">
          <ac:chgData name="Zenos Zenica" userId="de3ee720dba36952" providerId="Windows Live" clId="Web-{87EC33F8-20F9-4A9B-8B0C-47C86D280FAD}" dt="2020-11-23T12:17:53.700" v="1997"/>
          <ac:spMkLst>
            <pc:docMk/>
            <pc:sldMk cId="711073840" sldId="355"/>
            <ac:spMk id="68" creationId="{6D8ACA0D-D7F5-482F-BAC8-E942FBB6ABDD}"/>
          </ac:spMkLst>
        </pc:spChg>
      </pc:sldChg>
      <pc:sldChg chg="add del">
        <pc:chgData name="Zenos Zenica" userId="de3ee720dba36952" providerId="Windows Live" clId="Web-{87EC33F8-20F9-4A9B-8B0C-47C86D280FAD}" dt="2020-11-23T11:52:23.344" v="1534"/>
        <pc:sldMkLst>
          <pc:docMk/>
          <pc:sldMk cId="2415933194" sldId="355"/>
        </pc:sldMkLst>
      </pc:sldChg>
      <pc:sldChg chg="modSp add">
        <pc:chgData name="Zenos Zenica" userId="de3ee720dba36952" providerId="Windows Live" clId="Web-{87EC33F8-20F9-4A9B-8B0C-47C86D280FAD}" dt="2020-11-23T12:19:09.124" v="2063" actId="20577"/>
        <pc:sldMkLst>
          <pc:docMk/>
          <pc:sldMk cId="733067386" sldId="356"/>
        </pc:sldMkLst>
        <pc:spChg chg="mod">
          <ac:chgData name="Zenos Zenica" userId="de3ee720dba36952" providerId="Windows Live" clId="Web-{87EC33F8-20F9-4A9B-8B0C-47C86D280FAD}" dt="2020-11-23T12:18:17.185" v="2028" actId="1076"/>
          <ac:spMkLst>
            <pc:docMk/>
            <pc:sldMk cId="733067386" sldId="356"/>
            <ac:spMk id="2" creationId="{38B4E260-12F3-4A00-968A-9E9720209DA1}"/>
          </ac:spMkLst>
        </pc:spChg>
        <pc:spChg chg="mod">
          <ac:chgData name="Zenos Zenica" userId="de3ee720dba36952" providerId="Windows Live" clId="Web-{87EC33F8-20F9-4A9B-8B0C-47C86D280FAD}" dt="2020-11-23T12:19:09.124" v="2063" actId="20577"/>
          <ac:spMkLst>
            <pc:docMk/>
            <pc:sldMk cId="733067386" sldId="356"/>
            <ac:spMk id="4" creationId="{B8CB9108-1583-4A1C-846B-3263D00D0833}"/>
          </ac:spMkLst>
        </pc:spChg>
        <pc:spChg chg="mod">
          <ac:chgData name="Zenos Zenica" userId="de3ee720dba36952" providerId="Windows Live" clId="Web-{87EC33F8-20F9-4A9B-8B0C-47C86D280FAD}" dt="2020-11-23T12:18:07.107" v="2000"/>
          <ac:spMkLst>
            <pc:docMk/>
            <pc:sldMk cId="733067386" sldId="356"/>
            <ac:spMk id="76" creationId="{F6CBE937-68D8-42DB-A83F-52649AC5B494}"/>
          </ac:spMkLst>
        </pc:spChg>
        <pc:spChg chg="mod">
          <ac:chgData name="Zenos Zenica" userId="de3ee720dba36952" providerId="Windows Live" clId="Web-{87EC33F8-20F9-4A9B-8B0C-47C86D280FAD}" dt="2020-11-23T12:18:07.123" v="2001"/>
          <ac:spMkLst>
            <pc:docMk/>
            <pc:sldMk cId="733067386" sldId="356"/>
            <ac:spMk id="77" creationId="{CC9EF858-94FE-431C-B4B4-FF47D0250217}"/>
          </ac:spMkLst>
        </pc:spChg>
        <pc:spChg chg="mod">
          <ac:chgData name="Zenos Zenica" userId="de3ee720dba36952" providerId="Windows Live" clId="Web-{87EC33F8-20F9-4A9B-8B0C-47C86D280FAD}" dt="2020-11-23T12:18:07.154" v="2002"/>
          <ac:spMkLst>
            <pc:docMk/>
            <pc:sldMk cId="733067386" sldId="356"/>
            <ac:spMk id="79" creationId="{85CCC825-863C-4CC5-A3D4-2616A10C2C48}"/>
          </ac:spMkLst>
        </pc:spChg>
        <pc:spChg chg="mod">
          <ac:chgData name="Zenos Zenica" userId="de3ee720dba36952" providerId="Windows Live" clId="Web-{87EC33F8-20F9-4A9B-8B0C-47C86D280FAD}" dt="2020-11-23T12:18:07.170" v="2003"/>
          <ac:spMkLst>
            <pc:docMk/>
            <pc:sldMk cId="733067386" sldId="356"/>
            <ac:spMk id="80" creationId="{36DDA0C6-2E09-443D-960F-93A39EF1DACC}"/>
          </ac:spMkLst>
        </pc:spChg>
        <pc:spChg chg="mod">
          <ac:chgData name="Zenos Zenica" userId="de3ee720dba36952" providerId="Windows Live" clId="Web-{87EC33F8-20F9-4A9B-8B0C-47C86D280FAD}" dt="2020-11-23T12:18:07.185" v="2004"/>
          <ac:spMkLst>
            <pc:docMk/>
            <pc:sldMk cId="733067386" sldId="356"/>
            <ac:spMk id="82" creationId="{37C6052E-73B1-4A4A-BAD8-75BDA545B260}"/>
          </ac:spMkLst>
        </pc:spChg>
        <pc:spChg chg="mod">
          <ac:chgData name="Zenos Zenica" userId="de3ee720dba36952" providerId="Windows Live" clId="Web-{87EC33F8-20F9-4A9B-8B0C-47C86D280FAD}" dt="2020-11-23T12:18:07.201" v="2005"/>
          <ac:spMkLst>
            <pc:docMk/>
            <pc:sldMk cId="733067386" sldId="356"/>
            <ac:spMk id="83" creationId="{9C7E4312-839A-42E6-BDAA-0ECC7FB80571}"/>
          </ac:spMkLst>
        </pc:spChg>
        <pc:spChg chg="mod">
          <ac:chgData name="Zenos Zenica" userId="de3ee720dba36952" providerId="Windows Live" clId="Web-{87EC33F8-20F9-4A9B-8B0C-47C86D280FAD}" dt="2020-11-23T12:18:07.216" v="2006"/>
          <ac:spMkLst>
            <pc:docMk/>
            <pc:sldMk cId="733067386" sldId="356"/>
            <ac:spMk id="84" creationId="{304ED873-4D9F-4203-B20A-ADEA10DD639E}"/>
          </ac:spMkLst>
        </pc:spChg>
        <pc:spChg chg="mod">
          <ac:chgData name="Zenos Zenica" userId="de3ee720dba36952" providerId="Windows Live" clId="Web-{87EC33F8-20F9-4A9B-8B0C-47C86D280FAD}" dt="2020-11-23T12:18:07.248" v="2007"/>
          <ac:spMkLst>
            <pc:docMk/>
            <pc:sldMk cId="733067386" sldId="356"/>
            <ac:spMk id="86" creationId="{2EB5E428-6346-481A-ACF0-1D17FDF6315A}"/>
          </ac:spMkLst>
        </pc:spChg>
        <pc:spChg chg="mod">
          <ac:chgData name="Zenos Zenica" userId="de3ee720dba36952" providerId="Windows Live" clId="Web-{87EC33F8-20F9-4A9B-8B0C-47C86D280FAD}" dt="2020-11-23T12:18:07.263" v="2008"/>
          <ac:spMkLst>
            <pc:docMk/>
            <pc:sldMk cId="733067386" sldId="356"/>
            <ac:spMk id="87" creationId="{8D15C762-A334-4A50-AD5A-AE1064CC7E39}"/>
          </ac:spMkLst>
        </pc:spChg>
        <pc:spChg chg="mod">
          <ac:chgData name="Zenos Zenica" userId="de3ee720dba36952" providerId="Windows Live" clId="Web-{87EC33F8-20F9-4A9B-8B0C-47C86D280FAD}" dt="2020-11-23T12:18:07.279" v="2009"/>
          <ac:spMkLst>
            <pc:docMk/>
            <pc:sldMk cId="733067386" sldId="356"/>
            <ac:spMk id="88" creationId="{FDD610B6-E3BF-44A5-91BA-1F436881427B}"/>
          </ac:spMkLst>
        </pc:spChg>
        <pc:spChg chg="mod">
          <ac:chgData name="Zenos Zenica" userId="de3ee720dba36952" providerId="Windows Live" clId="Web-{87EC33F8-20F9-4A9B-8B0C-47C86D280FAD}" dt="2020-11-23T12:18:07.295" v="2010"/>
          <ac:spMkLst>
            <pc:docMk/>
            <pc:sldMk cId="733067386" sldId="356"/>
            <ac:spMk id="90" creationId="{30B618C6-6F20-4D18-BCE8-3BE31F8E2DAB}"/>
          </ac:spMkLst>
        </pc:spChg>
        <pc:spChg chg="mod">
          <ac:chgData name="Zenos Zenica" userId="de3ee720dba36952" providerId="Windows Live" clId="Web-{87EC33F8-20F9-4A9B-8B0C-47C86D280FAD}" dt="2020-11-23T12:18:07.326" v="2011"/>
          <ac:spMkLst>
            <pc:docMk/>
            <pc:sldMk cId="733067386" sldId="356"/>
            <ac:spMk id="91" creationId="{46A4B4C4-153B-4375-AE5A-752FB99EE170}"/>
          </ac:spMkLst>
        </pc:spChg>
        <pc:spChg chg="mod">
          <ac:chgData name="Zenos Zenica" userId="de3ee720dba36952" providerId="Windows Live" clId="Web-{87EC33F8-20F9-4A9B-8B0C-47C86D280FAD}" dt="2020-11-23T12:18:07.341" v="2012"/>
          <ac:spMkLst>
            <pc:docMk/>
            <pc:sldMk cId="733067386" sldId="356"/>
            <ac:spMk id="92" creationId="{4F632239-0782-4D0B-A90C-8580B0ED7233}"/>
          </ac:spMkLst>
        </pc:spChg>
        <pc:spChg chg="mod">
          <ac:chgData name="Zenos Zenica" userId="de3ee720dba36952" providerId="Windows Live" clId="Web-{87EC33F8-20F9-4A9B-8B0C-47C86D280FAD}" dt="2020-11-23T12:18:17.326" v="2035" actId="1076"/>
          <ac:spMkLst>
            <pc:docMk/>
            <pc:sldMk cId="733067386" sldId="356"/>
            <ac:spMk id="93" creationId="{3BADCD4D-6094-4BB5-9D43-2BBD6ABA129A}"/>
          </ac:spMkLst>
        </pc:spChg>
        <pc:spChg chg="mod">
          <ac:chgData name="Zenos Zenica" userId="de3ee720dba36952" providerId="Windows Live" clId="Web-{87EC33F8-20F9-4A9B-8B0C-47C86D280FAD}" dt="2020-11-23T12:18:17.342" v="2036" actId="1076"/>
          <ac:spMkLst>
            <pc:docMk/>
            <pc:sldMk cId="733067386" sldId="356"/>
            <ac:spMk id="94" creationId="{9887A5AF-B6B3-4DC7-961B-E89A48FC241C}"/>
          </ac:spMkLst>
        </pc:spChg>
        <pc:spChg chg="mod">
          <ac:chgData name="Zenos Zenica" userId="de3ee720dba36952" providerId="Windows Live" clId="Web-{87EC33F8-20F9-4A9B-8B0C-47C86D280FAD}" dt="2020-11-23T12:18:17.373" v="2037" actId="1076"/>
          <ac:spMkLst>
            <pc:docMk/>
            <pc:sldMk cId="733067386" sldId="356"/>
            <ac:spMk id="95" creationId="{77BFFF31-93DB-4FB8-9106-53B956ACB34E}"/>
          </ac:spMkLst>
        </pc:spChg>
        <pc:spChg chg="mod">
          <ac:chgData name="Zenos Zenica" userId="de3ee720dba36952" providerId="Windows Live" clId="Web-{87EC33F8-20F9-4A9B-8B0C-47C86D280FAD}" dt="2020-11-23T12:18:17.389" v="2038" actId="1076"/>
          <ac:spMkLst>
            <pc:docMk/>
            <pc:sldMk cId="733067386" sldId="356"/>
            <ac:spMk id="96" creationId="{C172D41A-C274-47D7-86AB-73C9E1F87100}"/>
          </ac:spMkLst>
        </pc:spChg>
        <pc:spChg chg="mod">
          <ac:chgData name="Zenos Zenica" userId="de3ee720dba36952" providerId="Windows Live" clId="Web-{87EC33F8-20F9-4A9B-8B0C-47C86D280FAD}" dt="2020-11-23T12:18:17.404" v="2039" actId="1076"/>
          <ac:spMkLst>
            <pc:docMk/>
            <pc:sldMk cId="733067386" sldId="356"/>
            <ac:spMk id="97" creationId="{24E3E47A-8CE8-4477-8134-6AB33B0BE726}"/>
          </ac:spMkLst>
        </pc:spChg>
        <pc:spChg chg="mod">
          <ac:chgData name="Zenos Zenica" userId="de3ee720dba36952" providerId="Windows Live" clId="Web-{87EC33F8-20F9-4A9B-8B0C-47C86D280FAD}" dt="2020-11-23T12:18:17.420" v="2040" actId="1076"/>
          <ac:spMkLst>
            <pc:docMk/>
            <pc:sldMk cId="733067386" sldId="356"/>
            <ac:spMk id="98" creationId="{A472781F-A7FD-4CF7-B792-E246C713C1D4}"/>
          </ac:spMkLst>
        </pc:spChg>
        <pc:spChg chg="mod">
          <ac:chgData name="Zenos Zenica" userId="de3ee720dba36952" providerId="Windows Live" clId="Web-{87EC33F8-20F9-4A9B-8B0C-47C86D280FAD}" dt="2020-11-23T12:18:17.435" v="2041" actId="1076"/>
          <ac:spMkLst>
            <pc:docMk/>
            <pc:sldMk cId="733067386" sldId="356"/>
            <ac:spMk id="99" creationId="{9EDCE622-3755-4616-A286-089B918C8092}"/>
          </ac:spMkLst>
        </pc:spChg>
        <pc:spChg chg="mod">
          <ac:chgData name="Zenos Zenica" userId="de3ee720dba36952" providerId="Windows Live" clId="Web-{87EC33F8-20F9-4A9B-8B0C-47C86D280FAD}" dt="2020-11-23T12:18:17.451" v="2042" actId="1076"/>
          <ac:spMkLst>
            <pc:docMk/>
            <pc:sldMk cId="733067386" sldId="356"/>
            <ac:spMk id="100" creationId="{14F98727-D4E1-4EC2-B7D8-F45D7B618CC9}"/>
          </ac:spMkLst>
        </pc:spChg>
        <pc:spChg chg="mod">
          <ac:chgData name="Zenos Zenica" userId="de3ee720dba36952" providerId="Windows Live" clId="Web-{87EC33F8-20F9-4A9B-8B0C-47C86D280FAD}" dt="2020-11-23T12:18:17.467" v="2043" actId="1076"/>
          <ac:spMkLst>
            <pc:docMk/>
            <pc:sldMk cId="733067386" sldId="356"/>
            <ac:spMk id="101" creationId="{307FB8D1-A563-4C0C-B801-4C6F4769E550}"/>
          </ac:spMkLst>
        </pc:spChg>
        <pc:spChg chg="mod">
          <ac:chgData name="Zenos Zenica" userId="de3ee720dba36952" providerId="Windows Live" clId="Web-{87EC33F8-20F9-4A9B-8B0C-47C86D280FAD}" dt="2020-11-23T12:18:42.452" v="2056" actId="1076"/>
          <ac:spMkLst>
            <pc:docMk/>
            <pc:sldMk cId="733067386" sldId="356"/>
            <ac:spMk id="102" creationId="{0FD09A67-E0B9-4AFD-AA77-6376220F2C12}"/>
          </ac:spMkLst>
        </pc:spChg>
        <pc:spChg chg="mod">
          <ac:chgData name="Zenos Zenica" userId="de3ee720dba36952" providerId="Windows Live" clId="Web-{87EC33F8-20F9-4A9B-8B0C-47C86D280FAD}" dt="2020-11-23T12:18:37.139" v="2055" actId="1076"/>
          <ac:spMkLst>
            <pc:docMk/>
            <pc:sldMk cId="733067386" sldId="356"/>
            <ac:spMk id="103" creationId="{80F58013-4102-4EA5-810E-84CED3F9F405}"/>
          </ac:spMkLst>
        </pc:spChg>
        <pc:spChg chg="mod">
          <ac:chgData name="Zenos Zenica" userId="de3ee720dba36952" providerId="Windows Live" clId="Web-{87EC33F8-20F9-4A9B-8B0C-47C86D280FAD}" dt="2020-11-23T12:18:17.514" v="2046" actId="1076"/>
          <ac:spMkLst>
            <pc:docMk/>
            <pc:sldMk cId="733067386" sldId="356"/>
            <ac:spMk id="104" creationId="{0A4CD48D-FC57-4CCC-BC0E-981552418266}"/>
          </ac:spMkLst>
        </pc:spChg>
        <pc:spChg chg="mod">
          <ac:chgData name="Zenos Zenica" userId="de3ee720dba36952" providerId="Windows Live" clId="Web-{87EC33F8-20F9-4A9B-8B0C-47C86D280FAD}" dt="2020-11-23T12:18:17.529" v="2047" actId="1076"/>
          <ac:spMkLst>
            <pc:docMk/>
            <pc:sldMk cId="733067386" sldId="356"/>
            <ac:spMk id="105" creationId="{FDED9551-93A9-4F4F-B401-C475951FA8B1}"/>
          </ac:spMkLst>
        </pc:spChg>
        <pc:spChg chg="mod">
          <ac:chgData name="Zenos Zenica" userId="de3ee720dba36952" providerId="Windows Live" clId="Web-{87EC33F8-20F9-4A9B-8B0C-47C86D280FAD}" dt="2020-11-23T12:18:17.560" v="2048" actId="1076"/>
          <ac:spMkLst>
            <pc:docMk/>
            <pc:sldMk cId="733067386" sldId="356"/>
            <ac:spMk id="106" creationId="{E254644E-FB3C-44BC-BA30-603C22445203}"/>
          </ac:spMkLst>
        </pc:spChg>
        <pc:spChg chg="mod">
          <ac:chgData name="Zenos Zenica" userId="de3ee720dba36952" providerId="Windows Live" clId="Web-{87EC33F8-20F9-4A9B-8B0C-47C86D280FAD}" dt="2020-11-23T12:18:17.560" v="2049" actId="1076"/>
          <ac:spMkLst>
            <pc:docMk/>
            <pc:sldMk cId="733067386" sldId="356"/>
            <ac:spMk id="107" creationId="{1CFF7B76-9FA0-494D-8CD2-524EA55726B3}"/>
          </ac:spMkLst>
        </pc:spChg>
        <pc:grpChg chg="mod">
          <ac:chgData name="Zenos Zenica" userId="de3ee720dba36952" providerId="Windows Live" clId="Web-{87EC33F8-20F9-4A9B-8B0C-47C86D280FAD}" dt="2020-11-23T12:18:17.248" v="2030" actId="1076"/>
          <ac:grpSpMkLst>
            <pc:docMk/>
            <pc:sldMk cId="733067386" sldId="356"/>
            <ac:grpSpMk id="75" creationId="{41B8DF88-D728-4A54-B092-F9AB55088C33}"/>
          </ac:grpSpMkLst>
        </pc:grpChg>
        <pc:grpChg chg="mod">
          <ac:chgData name="Zenos Zenica" userId="de3ee720dba36952" providerId="Windows Live" clId="Web-{87EC33F8-20F9-4A9B-8B0C-47C86D280FAD}" dt="2020-11-23T12:18:17.264" v="2031" actId="1076"/>
          <ac:grpSpMkLst>
            <pc:docMk/>
            <pc:sldMk cId="733067386" sldId="356"/>
            <ac:grpSpMk id="78" creationId="{031BC639-2269-4565-B8EE-2F546F4370AA}"/>
          </ac:grpSpMkLst>
        </pc:grpChg>
        <pc:grpChg chg="mod">
          <ac:chgData name="Zenos Zenica" userId="de3ee720dba36952" providerId="Windows Live" clId="Web-{87EC33F8-20F9-4A9B-8B0C-47C86D280FAD}" dt="2020-11-23T12:18:17.279" v="2032" actId="1076"/>
          <ac:grpSpMkLst>
            <pc:docMk/>
            <pc:sldMk cId="733067386" sldId="356"/>
            <ac:grpSpMk id="81" creationId="{E9F173B0-286C-4A05-B98D-E01602913BAB}"/>
          </ac:grpSpMkLst>
        </pc:grpChg>
        <pc:grpChg chg="mod">
          <ac:chgData name="Zenos Zenica" userId="de3ee720dba36952" providerId="Windows Live" clId="Web-{87EC33F8-20F9-4A9B-8B0C-47C86D280FAD}" dt="2020-11-23T12:18:17.295" v="2033" actId="1076"/>
          <ac:grpSpMkLst>
            <pc:docMk/>
            <pc:sldMk cId="733067386" sldId="356"/>
            <ac:grpSpMk id="85" creationId="{3F89A189-3028-4831-B6FC-DB027289F20E}"/>
          </ac:grpSpMkLst>
        </pc:grpChg>
        <pc:grpChg chg="mod">
          <ac:chgData name="Zenos Zenica" userId="de3ee720dba36952" providerId="Windows Live" clId="Web-{87EC33F8-20F9-4A9B-8B0C-47C86D280FAD}" dt="2020-11-23T12:18:17.310" v="2034" actId="1076"/>
          <ac:grpSpMkLst>
            <pc:docMk/>
            <pc:sldMk cId="733067386" sldId="356"/>
            <ac:grpSpMk id="89" creationId="{59478F0C-1244-43AD-AF93-7206AD4743DC}"/>
          </ac:grpSpMkLst>
        </pc:grpChg>
      </pc:sldChg>
      <pc:sldChg chg="modSp add">
        <pc:chgData name="Zenos Zenica" userId="de3ee720dba36952" providerId="Windows Live" clId="Web-{87EC33F8-20F9-4A9B-8B0C-47C86D280FAD}" dt="2020-11-23T12:20:01.829" v="2090" actId="1076"/>
        <pc:sldMkLst>
          <pc:docMk/>
          <pc:sldMk cId="320500676" sldId="357"/>
        </pc:sldMkLst>
        <pc:spChg chg="mod">
          <ac:chgData name="Zenos Zenica" userId="de3ee720dba36952" providerId="Windows Live" clId="Web-{87EC33F8-20F9-4A9B-8B0C-47C86D280FAD}" dt="2020-11-23T12:19:33.172" v="2072" actId="14100"/>
          <ac:spMkLst>
            <pc:docMk/>
            <pc:sldMk cId="320500676" sldId="357"/>
            <ac:spMk id="4" creationId="{B8CB9108-1583-4A1C-846B-3263D00D0833}"/>
          </ac:spMkLst>
        </pc:spChg>
        <pc:spChg chg="mod">
          <ac:chgData name="Zenos Zenica" userId="de3ee720dba36952" providerId="Windows Live" clId="Web-{87EC33F8-20F9-4A9B-8B0C-47C86D280FAD}" dt="2020-11-23T12:19:43.828" v="2073"/>
          <ac:spMkLst>
            <pc:docMk/>
            <pc:sldMk cId="320500676" sldId="357"/>
            <ac:spMk id="37" creationId="{84F898AE-A3F7-4A75-990F-4560D28792D6}"/>
          </ac:spMkLst>
        </pc:spChg>
        <pc:spChg chg="mod">
          <ac:chgData name="Zenos Zenica" userId="de3ee720dba36952" providerId="Windows Live" clId="Web-{87EC33F8-20F9-4A9B-8B0C-47C86D280FAD}" dt="2020-11-23T12:19:43.844" v="2074"/>
          <ac:spMkLst>
            <pc:docMk/>
            <pc:sldMk cId="320500676" sldId="357"/>
            <ac:spMk id="38" creationId="{2BA635C5-8B1A-4A12-8890-BC8D0678F95D}"/>
          </ac:spMkLst>
        </pc:spChg>
        <pc:spChg chg="mod">
          <ac:chgData name="Zenos Zenica" userId="de3ee720dba36952" providerId="Windows Live" clId="Web-{87EC33F8-20F9-4A9B-8B0C-47C86D280FAD}" dt="2020-11-23T12:19:43.844" v="2075"/>
          <ac:spMkLst>
            <pc:docMk/>
            <pc:sldMk cId="320500676" sldId="357"/>
            <ac:spMk id="39" creationId="{8E19D918-130D-4121-956A-E2F8FB7232F2}"/>
          </ac:spMkLst>
        </pc:spChg>
        <pc:spChg chg="mod">
          <ac:chgData name="Zenos Zenica" userId="de3ee720dba36952" providerId="Windows Live" clId="Web-{87EC33F8-20F9-4A9B-8B0C-47C86D280FAD}" dt="2020-11-23T12:19:43.860" v="2076"/>
          <ac:spMkLst>
            <pc:docMk/>
            <pc:sldMk cId="320500676" sldId="357"/>
            <ac:spMk id="40" creationId="{40DA72CA-FE52-422D-88DE-EF81D6498414}"/>
          </ac:spMkLst>
        </pc:spChg>
        <pc:spChg chg="mod">
          <ac:chgData name="Zenos Zenica" userId="de3ee720dba36952" providerId="Windows Live" clId="Web-{87EC33F8-20F9-4A9B-8B0C-47C86D280FAD}" dt="2020-11-23T12:19:43.860" v="2077"/>
          <ac:spMkLst>
            <pc:docMk/>
            <pc:sldMk cId="320500676" sldId="357"/>
            <ac:spMk id="41" creationId="{6D027986-0E11-4555-88E9-83580D56B424}"/>
          </ac:spMkLst>
        </pc:spChg>
        <pc:spChg chg="mod">
          <ac:chgData name="Zenos Zenica" userId="de3ee720dba36952" providerId="Windows Live" clId="Web-{87EC33F8-20F9-4A9B-8B0C-47C86D280FAD}" dt="2020-11-23T12:19:43.875" v="2078"/>
          <ac:spMkLst>
            <pc:docMk/>
            <pc:sldMk cId="320500676" sldId="357"/>
            <ac:spMk id="42" creationId="{93202081-7B2E-4D98-AF03-04AB4ADE8F92}"/>
          </ac:spMkLst>
        </pc:spChg>
        <pc:spChg chg="mod">
          <ac:chgData name="Zenos Zenica" userId="de3ee720dba36952" providerId="Windows Live" clId="Web-{87EC33F8-20F9-4A9B-8B0C-47C86D280FAD}" dt="2020-11-23T12:19:43.891" v="2079"/>
          <ac:spMkLst>
            <pc:docMk/>
            <pc:sldMk cId="320500676" sldId="357"/>
            <ac:spMk id="43" creationId="{CAA6782D-C519-4D61-B73E-5CA517151A93}"/>
          </ac:spMkLst>
        </pc:spChg>
        <pc:spChg chg="mod">
          <ac:chgData name="Zenos Zenica" userId="de3ee720dba36952" providerId="Windows Live" clId="Web-{87EC33F8-20F9-4A9B-8B0C-47C86D280FAD}" dt="2020-11-23T12:19:43.891" v="2080"/>
          <ac:spMkLst>
            <pc:docMk/>
            <pc:sldMk cId="320500676" sldId="357"/>
            <ac:spMk id="51" creationId="{925AE4B4-4483-48CE-AE22-7BECBB1E1658}"/>
          </ac:spMkLst>
        </pc:spChg>
        <pc:spChg chg="mod">
          <ac:chgData name="Zenos Zenica" userId="de3ee720dba36952" providerId="Windows Live" clId="Web-{87EC33F8-20F9-4A9B-8B0C-47C86D280FAD}" dt="2020-11-23T12:19:49.704" v="2088" actId="20577"/>
          <ac:spMkLst>
            <pc:docMk/>
            <pc:sldMk cId="320500676" sldId="357"/>
            <ac:spMk id="53" creationId="{CF2729CE-34A2-434A-B73B-139B78D1C0B6}"/>
          </ac:spMkLst>
        </pc:spChg>
        <pc:spChg chg="mod">
          <ac:chgData name="Zenos Zenica" userId="de3ee720dba36952" providerId="Windows Live" clId="Web-{87EC33F8-20F9-4A9B-8B0C-47C86D280FAD}" dt="2020-11-23T12:19:43.907" v="2081"/>
          <ac:spMkLst>
            <pc:docMk/>
            <pc:sldMk cId="320500676" sldId="357"/>
            <ac:spMk id="55" creationId="{B169B7DE-AF7D-4153-91DA-2FF62C80F3FC}"/>
          </ac:spMkLst>
        </pc:spChg>
        <pc:spChg chg="mod">
          <ac:chgData name="Zenos Zenica" userId="de3ee720dba36952" providerId="Windows Live" clId="Web-{87EC33F8-20F9-4A9B-8B0C-47C86D280FAD}" dt="2020-11-23T12:19:43.907" v="2082"/>
          <ac:spMkLst>
            <pc:docMk/>
            <pc:sldMk cId="320500676" sldId="357"/>
            <ac:spMk id="57" creationId="{8EA0616A-01EF-4053-9FA3-F620D8E82904}"/>
          </ac:spMkLst>
        </pc:spChg>
        <pc:spChg chg="mod">
          <ac:chgData name="Zenos Zenica" userId="de3ee720dba36952" providerId="Windows Live" clId="Web-{87EC33F8-20F9-4A9B-8B0C-47C86D280FAD}" dt="2020-11-23T12:19:43.922" v="2083"/>
          <ac:spMkLst>
            <pc:docMk/>
            <pc:sldMk cId="320500676" sldId="357"/>
            <ac:spMk id="59" creationId="{76FB90E6-7BCC-4038-9E1D-1FD9B8097DC3}"/>
          </ac:spMkLst>
        </pc:spChg>
        <pc:spChg chg="mod">
          <ac:chgData name="Zenos Zenica" userId="de3ee720dba36952" providerId="Windows Live" clId="Web-{87EC33F8-20F9-4A9B-8B0C-47C86D280FAD}" dt="2020-11-23T12:19:43.938" v="2084"/>
          <ac:spMkLst>
            <pc:docMk/>
            <pc:sldMk cId="320500676" sldId="357"/>
            <ac:spMk id="61" creationId="{9E0EBD04-430F-45E4-AC2E-AE6E0312ABA2}"/>
          </ac:spMkLst>
        </pc:spChg>
        <pc:spChg chg="mod">
          <ac:chgData name="Zenos Zenica" userId="de3ee720dba36952" providerId="Windows Live" clId="Web-{87EC33F8-20F9-4A9B-8B0C-47C86D280FAD}" dt="2020-11-23T12:19:43.938" v="2085"/>
          <ac:spMkLst>
            <pc:docMk/>
            <pc:sldMk cId="320500676" sldId="357"/>
            <ac:spMk id="63" creationId="{3845AEE9-F942-44F7-B23F-1FA62DBF43C9}"/>
          </ac:spMkLst>
        </pc:spChg>
        <pc:spChg chg="mod">
          <ac:chgData name="Zenos Zenica" userId="de3ee720dba36952" providerId="Windows Live" clId="Web-{87EC33F8-20F9-4A9B-8B0C-47C86D280FAD}" dt="2020-11-23T12:20:01.829" v="2090" actId="1076"/>
          <ac:spMkLst>
            <pc:docMk/>
            <pc:sldMk cId="320500676" sldId="357"/>
            <ac:spMk id="65" creationId="{4BAB2ABE-A346-4F45-976F-A339E4ACD72C}"/>
          </ac:spMkLst>
        </pc:spChg>
      </pc:sldChg>
      <pc:sldChg chg="modSp add">
        <pc:chgData name="Zenos Zenica" userId="de3ee720dba36952" providerId="Windows Live" clId="Web-{87EC33F8-20F9-4A9B-8B0C-47C86D280FAD}" dt="2020-11-23T12:34:21.556" v="2170" actId="20577"/>
        <pc:sldMkLst>
          <pc:docMk/>
          <pc:sldMk cId="3486160674" sldId="358"/>
        </pc:sldMkLst>
        <pc:spChg chg="mod">
          <ac:chgData name="Zenos Zenica" userId="de3ee720dba36952" providerId="Windows Live" clId="Web-{87EC33F8-20F9-4A9B-8B0C-47C86D280FAD}" dt="2020-11-23T12:21:27.722" v="2105" actId="1076"/>
          <ac:spMkLst>
            <pc:docMk/>
            <pc:sldMk cId="3486160674" sldId="358"/>
            <ac:spMk id="4" creationId="{B8CB9108-1583-4A1C-846B-3263D00D0833}"/>
          </ac:spMkLst>
        </pc:spChg>
        <pc:spChg chg="mod">
          <ac:chgData name="Zenos Zenica" userId="de3ee720dba36952" providerId="Windows Live" clId="Web-{87EC33F8-20F9-4A9B-8B0C-47C86D280FAD}" dt="2020-11-23T12:22:58.896" v="2125" actId="14100"/>
          <ac:spMkLst>
            <pc:docMk/>
            <pc:sldMk cId="3486160674" sldId="358"/>
            <ac:spMk id="19" creationId="{89CAACEB-408C-457C-904A-A8C58797F7EC}"/>
          </ac:spMkLst>
        </pc:spChg>
        <pc:spChg chg="mod">
          <ac:chgData name="Zenos Zenica" userId="de3ee720dba36952" providerId="Windows Live" clId="Web-{87EC33F8-20F9-4A9B-8B0C-47C86D280FAD}" dt="2020-11-23T12:23:32.335" v="2130" actId="14100"/>
          <ac:spMkLst>
            <pc:docMk/>
            <pc:sldMk cId="3486160674" sldId="358"/>
            <ac:spMk id="22" creationId="{D982EACB-3BA0-41B1-8533-6C82EB350809}"/>
          </ac:spMkLst>
        </pc:spChg>
        <pc:spChg chg="mod">
          <ac:chgData name="Zenos Zenica" userId="de3ee720dba36952" providerId="Windows Live" clId="Web-{87EC33F8-20F9-4A9B-8B0C-47C86D280FAD}" dt="2020-11-23T12:21:40.597" v="2109" actId="1076"/>
          <ac:spMkLst>
            <pc:docMk/>
            <pc:sldMk cId="3486160674" sldId="358"/>
            <ac:spMk id="23" creationId="{63EA1188-0796-4BDC-8169-373AE5C6592B}"/>
          </ac:spMkLst>
        </pc:spChg>
        <pc:spChg chg="mod">
          <ac:chgData name="Zenos Zenica" userId="de3ee720dba36952" providerId="Windows Live" clId="Web-{87EC33F8-20F9-4A9B-8B0C-47C86D280FAD}" dt="2020-11-23T12:26:06.745" v="2167" actId="20577"/>
          <ac:spMkLst>
            <pc:docMk/>
            <pc:sldMk cId="3486160674" sldId="358"/>
            <ac:spMk id="25" creationId="{C17B8899-1C0F-4F5A-A657-D088AD7712F3}"/>
          </ac:spMkLst>
        </pc:spChg>
        <pc:spChg chg="mod">
          <ac:chgData name="Zenos Zenica" userId="de3ee720dba36952" providerId="Windows Live" clId="Web-{87EC33F8-20F9-4A9B-8B0C-47C86D280FAD}" dt="2020-11-23T12:24:13.414" v="2134" actId="14100"/>
          <ac:spMkLst>
            <pc:docMk/>
            <pc:sldMk cId="3486160674" sldId="358"/>
            <ac:spMk id="27" creationId="{AD258395-F06C-4CAB-AD92-893ABA346BB1}"/>
          </ac:spMkLst>
        </pc:spChg>
        <pc:spChg chg="mod">
          <ac:chgData name="Zenos Zenica" userId="de3ee720dba36952" providerId="Windows Live" clId="Web-{87EC33F8-20F9-4A9B-8B0C-47C86D280FAD}" dt="2020-11-23T12:24:40.899" v="2138" actId="14100"/>
          <ac:spMkLst>
            <pc:docMk/>
            <pc:sldMk cId="3486160674" sldId="358"/>
            <ac:spMk id="30" creationId="{7188760E-93E0-48DB-BA72-D7DC251F8571}"/>
          </ac:spMkLst>
        </pc:spChg>
        <pc:spChg chg="mod">
          <ac:chgData name="Zenos Zenica" userId="de3ee720dba36952" providerId="Windows Live" clId="Web-{87EC33F8-20F9-4A9B-8B0C-47C86D280FAD}" dt="2020-11-23T12:22:08.082" v="2117" actId="1076"/>
          <ac:spMkLst>
            <pc:docMk/>
            <pc:sldMk cId="3486160674" sldId="358"/>
            <ac:spMk id="31" creationId="{3B77EDA4-3FB8-4D08-9065-8B75FBC05F00}"/>
          </ac:spMkLst>
        </pc:spChg>
        <pc:spChg chg="mod">
          <ac:chgData name="Zenos Zenica" userId="de3ee720dba36952" providerId="Windows Live" clId="Web-{87EC33F8-20F9-4A9B-8B0C-47C86D280FAD}" dt="2020-11-23T12:34:21.556" v="2170" actId="20577"/>
          <ac:spMkLst>
            <pc:docMk/>
            <pc:sldMk cId="3486160674" sldId="358"/>
            <ac:spMk id="33" creationId="{DCCF6A98-20FD-40F3-8122-838D4D897D37}"/>
          </ac:spMkLst>
        </pc:spChg>
        <pc:spChg chg="mod">
          <ac:chgData name="Zenos Zenica" userId="de3ee720dba36952" providerId="Windows Live" clId="Web-{87EC33F8-20F9-4A9B-8B0C-47C86D280FAD}" dt="2020-11-23T12:24:49.993" v="2139" actId="14100"/>
          <ac:spMkLst>
            <pc:docMk/>
            <pc:sldMk cId="3486160674" sldId="358"/>
            <ac:spMk id="35" creationId="{9E11ADF2-5E24-470F-A06D-4CAAE88FBC25}"/>
          </ac:spMkLst>
        </pc:spChg>
        <pc:spChg chg="mod">
          <ac:chgData name="Zenos Zenica" userId="de3ee720dba36952" providerId="Windows Live" clId="Web-{87EC33F8-20F9-4A9B-8B0C-47C86D280FAD}" dt="2020-11-23T12:25:17.135" v="2143" actId="14100"/>
          <ac:spMkLst>
            <pc:docMk/>
            <pc:sldMk cId="3486160674" sldId="358"/>
            <ac:spMk id="45" creationId="{A006A893-2725-4596-85A2-9B50D06AB8FF}"/>
          </ac:spMkLst>
        </pc:spChg>
        <pc:spChg chg="mod">
          <ac:chgData name="Zenos Zenica" userId="de3ee720dba36952" providerId="Windows Live" clId="Web-{87EC33F8-20F9-4A9B-8B0C-47C86D280FAD}" dt="2020-11-23T12:22:19.567" v="2121" actId="1076"/>
          <ac:spMkLst>
            <pc:docMk/>
            <pc:sldMk cId="3486160674" sldId="358"/>
            <ac:spMk id="46" creationId="{F13A870C-35B2-4502-953E-5BBF350D42A1}"/>
          </ac:spMkLst>
        </pc:spChg>
        <pc:spChg chg="mod">
          <ac:chgData name="Zenos Zenica" userId="de3ee720dba36952" providerId="Windows Live" clId="Web-{87EC33F8-20F9-4A9B-8B0C-47C86D280FAD}" dt="2020-11-23T12:25:50.151" v="2156" actId="20577"/>
          <ac:spMkLst>
            <pc:docMk/>
            <pc:sldMk cId="3486160674" sldId="358"/>
            <ac:spMk id="48" creationId="{BD44A69B-B9BC-4E9E-A490-73D0098BA6A2}"/>
          </ac:spMkLst>
        </pc:spChg>
        <pc:spChg chg="mod">
          <ac:chgData name="Zenos Zenica" userId="de3ee720dba36952" providerId="Windows Live" clId="Web-{87EC33F8-20F9-4A9B-8B0C-47C86D280FAD}" dt="2020-11-23T12:22:39.693" v="2122" actId="14100"/>
          <ac:spMkLst>
            <pc:docMk/>
            <pc:sldMk cId="3486160674" sldId="358"/>
            <ac:spMk id="50" creationId="{3E8769CC-E72E-42F7-9CCC-E58033CC1C64}"/>
          </ac:spMkLst>
        </pc:spChg>
        <pc:spChg chg="mod">
          <ac:chgData name="Zenos Zenica" userId="de3ee720dba36952" providerId="Windows Live" clId="Web-{87EC33F8-20F9-4A9B-8B0C-47C86D280FAD}" dt="2020-11-23T12:22:46.740" v="2124" actId="14100"/>
          <ac:spMkLst>
            <pc:docMk/>
            <pc:sldMk cId="3486160674" sldId="358"/>
            <ac:spMk id="56" creationId="{4957E4CB-D3FC-4912-A02F-35B3C8B7D84C}"/>
          </ac:spMkLst>
        </pc:spChg>
        <pc:spChg chg="mod">
          <ac:chgData name="Zenos Zenica" userId="de3ee720dba36952" providerId="Windows Live" clId="Web-{87EC33F8-20F9-4A9B-8B0C-47C86D280FAD}" dt="2020-11-23T12:20:43.002" v="2098" actId="1076"/>
          <ac:spMkLst>
            <pc:docMk/>
            <pc:sldMk cId="3486160674" sldId="358"/>
            <ac:spMk id="58" creationId="{A0F5F3E3-F5B2-4F67-8BE0-73B065862AA8}"/>
          </ac:spMkLst>
        </pc:spChg>
        <pc:spChg chg="mod">
          <ac:chgData name="Zenos Zenica" userId="de3ee720dba36952" providerId="Windows Live" clId="Web-{87EC33F8-20F9-4A9B-8B0C-47C86D280FAD}" dt="2020-11-23T12:25:26.963" v="2145" actId="20577"/>
          <ac:spMkLst>
            <pc:docMk/>
            <pc:sldMk cId="3486160674" sldId="358"/>
            <ac:spMk id="62" creationId="{DA0D3268-43A2-4C1C-972F-EC210112B76A}"/>
          </ac:spMkLst>
        </pc:spChg>
        <pc:spChg chg="mod">
          <ac:chgData name="Zenos Zenica" userId="de3ee720dba36952" providerId="Windows Live" clId="Web-{87EC33F8-20F9-4A9B-8B0C-47C86D280FAD}" dt="2020-11-23T12:23:47.632" v="2131" actId="14100"/>
          <ac:spMkLst>
            <pc:docMk/>
            <pc:sldMk cId="3486160674" sldId="358"/>
            <ac:spMk id="66" creationId="{871EA91F-972E-463F-A516-5555DC5156D7}"/>
          </ac:spMkLst>
        </pc:spChg>
        <pc:spChg chg="mod">
          <ac:chgData name="Zenos Zenica" userId="de3ee720dba36952" providerId="Windows Live" clId="Web-{87EC33F8-20F9-4A9B-8B0C-47C86D280FAD}" dt="2020-11-23T12:24:34.805" v="2137" actId="14100"/>
          <ac:spMkLst>
            <pc:docMk/>
            <pc:sldMk cId="3486160674" sldId="358"/>
            <ac:spMk id="69" creationId="{214674B2-8436-40B6-BB4F-F99223D8E2B4}"/>
          </ac:spMkLst>
        </pc:spChg>
        <pc:spChg chg="mod">
          <ac:chgData name="Zenos Zenica" userId="de3ee720dba36952" providerId="Windows Live" clId="Web-{87EC33F8-20F9-4A9B-8B0C-47C86D280FAD}" dt="2020-11-23T12:21:51.910" v="2113" actId="1076"/>
          <ac:spMkLst>
            <pc:docMk/>
            <pc:sldMk cId="3486160674" sldId="358"/>
            <ac:spMk id="70" creationId="{B1EBF8D8-54F5-47BA-815B-1989E6E2A138}"/>
          </ac:spMkLst>
        </pc:spChg>
        <pc:spChg chg="mod">
          <ac:chgData name="Zenos Zenica" userId="de3ee720dba36952" providerId="Windows Live" clId="Web-{87EC33F8-20F9-4A9B-8B0C-47C86D280FAD}" dt="2020-11-23T12:25:44.729" v="2154" actId="14100"/>
          <ac:spMkLst>
            <pc:docMk/>
            <pc:sldMk cId="3486160674" sldId="358"/>
            <ac:spMk id="72" creationId="{A236E1F9-4769-455E-8694-8D9ABE3C926B}"/>
          </ac:spMkLst>
        </pc:spChg>
      </pc:sldChg>
      <pc:sldChg chg="modSp add">
        <pc:chgData name="Zenos Zenica" userId="de3ee720dba36952" providerId="Windows Live" clId="Web-{87EC33F8-20F9-4A9B-8B0C-47C86D280FAD}" dt="2020-11-23T12:35:03.401" v="2183" actId="1076"/>
        <pc:sldMkLst>
          <pc:docMk/>
          <pc:sldMk cId="4191889817" sldId="359"/>
        </pc:sldMkLst>
        <pc:spChg chg="mod">
          <ac:chgData name="Zenos Zenica" userId="de3ee720dba36952" providerId="Windows Live" clId="Web-{87EC33F8-20F9-4A9B-8B0C-47C86D280FAD}" dt="2020-11-23T12:35:03.401" v="2183" actId="1076"/>
          <ac:spMkLst>
            <pc:docMk/>
            <pc:sldMk cId="4191889817" sldId="359"/>
            <ac:spMk id="4" creationId="{B8CB9108-1583-4A1C-846B-3263D00D0833}"/>
          </ac:spMkLst>
        </pc:spChg>
        <pc:spChg chg="mod">
          <ac:chgData name="Zenos Zenica" userId="de3ee720dba36952" providerId="Windows Live" clId="Web-{87EC33F8-20F9-4A9B-8B0C-47C86D280FAD}" dt="2020-11-23T12:34:51.182" v="2180" actId="1076"/>
          <ac:spMkLst>
            <pc:docMk/>
            <pc:sldMk cId="4191889817" sldId="359"/>
            <ac:spMk id="74" creationId="{93E0A6A2-CB2E-483F-8E1F-B94E4533831E}"/>
          </ac:spMkLst>
        </pc:spChg>
        <pc:graphicFrameChg chg="mod modGraphic">
          <ac:chgData name="Zenos Zenica" userId="de3ee720dba36952" providerId="Windows Live" clId="Web-{87EC33F8-20F9-4A9B-8B0C-47C86D280FAD}" dt="2020-11-23T12:34:47.728" v="2179" actId="1076"/>
          <ac:graphicFrameMkLst>
            <pc:docMk/>
            <pc:sldMk cId="4191889817" sldId="359"/>
            <ac:graphicFrameMk id="3" creationId="{FEE08F07-C98B-4852-A4C2-8601CAB4C48C}"/>
          </ac:graphicFrameMkLst>
        </pc:graphicFrameChg>
      </pc:sldChg>
      <pc:sldChg chg="modSp add">
        <pc:chgData name="Zenos Zenica" userId="de3ee720dba36952" providerId="Windows Live" clId="Web-{87EC33F8-20F9-4A9B-8B0C-47C86D280FAD}" dt="2020-11-23T12:38:05.859" v="2222" actId="1076"/>
        <pc:sldMkLst>
          <pc:docMk/>
          <pc:sldMk cId="3593434031" sldId="360"/>
        </pc:sldMkLst>
        <pc:spChg chg="mod">
          <ac:chgData name="Zenos Zenica" userId="de3ee720dba36952" providerId="Windows Live" clId="Web-{87EC33F8-20F9-4A9B-8B0C-47C86D280FAD}" dt="2020-11-23T12:38:05.859" v="2222" actId="1076"/>
          <ac:spMkLst>
            <pc:docMk/>
            <pc:sldMk cId="3593434031" sldId="360"/>
            <ac:spMk id="4" creationId="{B8CB9108-1583-4A1C-846B-3263D00D0833}"/>
          </ac:spMkLst>
        </pc:spChg>
        <pc:spChg chg="mod">
          <ac:chgData name="Zenos Zenica" userId="de3ee720dba36952" providerId="Windows Live" clId="Web-{87EC33F8-20F9-4A9B-8B0C-47C86D280FAD}" dt="2020-11-23T12:37:37.108" v="2211" actId="1076"/>
          <ac:spMkLst>
            <pc:docMk/>
            <pc:sldMk cId="3593434031" sldId="360"/>
            <ac:spMk id="6" creationId="{1927B242-A7B8-4A31-9223-6B354D9F389F}"/>
          </ac:spMkLst>
        </pc:spChg>
        <pc:spChg chg="mod">
          <ac:chgData name="Zenos Zenica" userId="de3ee720dba36952" providerId="Windows Live" clId="Web-{87EC33F8-20F9-4A9B-8B0C-47C86D280FAD}" dt="2020-11-23T12:37:05.826" v="2205" actId="1076"/>
          <ac:spMkLst>
            <pc:docMk/>
            <pc:sldMk cId="3593434031" sldId="360"/>
            <ac:spMk id="8" creationId="{B17663EC-C369-40EB-BABE-DDABE755E008}"/>
          </ac:spMkLst>
        </pc:spChg>
        <pc:spChg chg="mod">
          <ac:chgData name="Zenos Zenica" userId="de3ee720dba36952" providerId="Windows Live" clId="Web-{87EC33F8-20F9-4A9B-8B0C-47C86D280FAD}" dt="2020-11-23T12:37:49.093" v="2212" actId="1076"/>
          <ac:spMkLst>
            <pc:docMk/>
            <pc:sldMk cId="3593434031" sldId="360"/>
            <ac:spMk id="9" creationId="{D36700DA-B29D-4DAD-98B8-F9B89C46DBF5}"/>
          </ac:spMkLst>
        </pc:spChg>
        <pc:spChg chg="mod">
          <ac:chgData name="Zenos Zenica" userId="de3ee720dba36952" providerId="Windows Live" clId="Web-{87EC33F8-20F9-4A9B-8B0C-47C86D280FAD}" dt="2020-11-23T12:37:12.123" v="2206" actId="1076"/>
          <ac:spMkLst>
            <pc:docMk/>
            <pc:sldMk cId="3593434031" sldId="360"/>
            <ac:spMk id="10" creationId="{CE26D60F-77AF-4DFF-B0C3-2465DE5D1BA6}"/>
          </ac:spMkLst>
        </pc:spChg>
        <pc:graphicFrameChg chg="mod">
          <ac:chgData name="Zenos Zenica" userId="de3ee720dba36952" providerId="Windows Live" clId="Web-{87EC33F8-20F9-4A9B-8B0C-47C86D280FAD}" dt="2020-11-23T12:36:56.732" v="2203" actId="1076"/>
          <ac:graphicFrameMkLst>
            <pc:docMk/>
            <pc:sldMk cId="3593434031" sldId="360"/>
            <ac:graphicFrameMk id="5" creationId="{BEB98607-C343-41EC-86B2-C2281900C00C}"/>
          </ac:graphicFrameMkLst>
        </pc:graphicFrameChg>
      </pc:sldChg>
      <pc:sldChg chg="modSp add">
        <pc:chgData name="Zenos Zenica" userId="de3ee720dba36952" providerId="Windows Live" clId="Web-{87EC33F8-20F9-4A9B-8B0C-47C86D280FAD}" dt="2020-11-23T12:40:03.456" v="2259" actId="20577"/>
        <pc:sldMkLst>
          <pc:docMk/>
          <pc:sldMk cId="348789314" sldId="361"/>
        </pc:sldMkLst>
        <pc:spChg chg="mod">
          <ac:chgData name="Zenos Zenica" userId="de3ee720dba36952" providerId="Windows Live" clId="Web-{87EC33F8-20F9-4A9B-8B0C-47C86D280FAD}" dt="2020-11-23T12:40:03.456" v="2259" actId="20577"/>
          <ac:spMkLst>
            <pc:docMk/>
            <pc:sldMk cId="348789314" sldId="361"/>
            <ac:spMk id="4" creationId="{B8CB9108-1583-4A1C-846B-3263D00D0833}"/>
          </ac:spMkLst>
        </pc:spChg>
        <pc:spChg chg="mod">
          <ac:chgData name="Zenos Zenica" userId="de3ee720dba36952" providerId="Windows Live" clId="Web-{87EC33F8-20F9-4A9B-8B0C-47C86D280FAD}" dt="2020-11-23T12:39:16.627" v="2235" actId="1076"/>
          <ac:spMkLst>
            <pc:docMk/>
            <pc:sldMk cId="348789314" sldId="361"/>
            <ac:spMk id="14" creationId="{1755BDE4-73B2-4B50-B44C-9ECA4CDB895C}"/>
          </ac:spMkLst>
        </pc:spChg>
        <pc:spChg chg="mod">
          <ac:chgData name="Zenos Zenica" userId="de3ee720dba36952" providerId="Windows Live" clId="Web-{87EC33F8-20F9-4A9B-8B0C-47C86D280FAD}" dt="2020-11-23T12:39:16.642" v="2236" actId="1076"/>
          <ac:spMkLst>
            <pc:docMk/>
            <pc:sldMk cId="348789314" sldId="361"/>
            <ac:spMk id="15" creationId="{C50C8639-B2C4-4983-9431-A814BDD11686}"/>
          </ac:spMkLst>
        </pc:spChg>
        <pc:spChg chg="mod">
          <ac:chgData name="Zenos Zenica" userId="de3ee720dba36952" providerId="Windows Live" clId="Web-{87EC33F8-20F9-4A9B-8B0C-47C86D280FAD}" dt="2020-11-23T12:38:57.814" v="2233" actId="1076"/>
          <ac:spMkLst>
            <pc:docMk/>
            <pc:sldMk cId="348789314" sldId="361"/>
            <ac:spMk id="16" creationId="{8D015B4C-7BDE-4CF6-B1DF-C9FF97DCD775}"/>
          </ac:spMkLst>
        </pc:spChg>
        <pc:spChg chg="mod">
          <ac:chgData name="Zenos Zenica" userId="de3ee720dba36952" providerId="Windows Live" clId="Web-{87EC33F8-20F9-4A9B-8B0C-47C86D280FAD}" dt="2020-11-23T12:38:47.844" v="2229" actId="1076"/>
          <ac:spMkLst>
            <pc:docMk/>
            <pc:sldMk cId="348789314" sldId="361"/>
            <ac:spMk id="17" creationId="{B3A360FC-7259-4651-A29F-042977C2617C}"/>
          </ac:spMkLst>
        </pc:spChg>
        <pc:spChg chg="mod">
          <ac:chgData name="Zenos Zenica" userId="de3ee720dba36952" providerId="Windows Live" clId="Web-{87EC33F8-20F9-4A9B-8B0C-47C86D280FAD}" dt="2020-11-23T12:39:51.362" v="2253" actId="1076"/>
          <ac:spMkLst>
            <pc:docMk/>
            <pc:sldMk cId="348789314" sldId="361"/>
            <ac:spMk id="18" creationId="{3F005DF6-025C-4D79-AAD4-7099F96A9B84}"/>
          </ac:spMkLst>
        </pc:spChg>
        <pc:spChg chg="mod">
          <ac:chgData name="Zenos Zenica" userId="de3ee720dba36952" providerId="Windows Live" clId="Web-{87EC33F8-20F9-4A9B-8B0C-47C86D280FAD}" dt="2020-11-23T12:39:38.893" v="2249" actId="1076"/>
          <ac:spMkLst>
            <pc:docMk/>
            <pc:sldMk cId="348789314" sldId="361"/>
            <ac:spMk id="19" creationId="{971A53F2-068D-4409-ACFB-86187A4F300D}"/>
          </ac:spMkLst>
        </pc:spChg>
        <pc:spChg chg="mod">
          <ac:chgData name="Zenos Zenica" userId="de3ee720dba36952" providerId="Windows Live" clId="Web-{87EC33F8-20F9-4A9B-8B0C-47C86D280FAD}" dt="2020-11-23T12:39:16.658" v="2237" actId="1076"/>
          <ac:spMkLst>
            <pc:docMk/>
            <pc:sldMk cId="348789314" sldId="361"/>
            <ac:spMk id="20" creationId="{BD41693A-4E30-4866-9046-1A26BCBA80B3}"/>
          </ac:spMkLst>
        </pc:spChg>
        <pc:spChg chg="mod">
          <ac:chgData name="Zenos Zenica" userId="de3ee720dba36952" providerId="Windows Live" clId="Web-{87EC33F8-20F9-4A9B-8B0C-47C86D280FAD}" dt="2020-11-23T12:39:16.689" v="2238" actId="1076"/>
          <ac:spMkLst>
            <pc:docMk/>
            <pc:sldMk cId="348789314" sldId="361"/>
            <ac:spMk id="21" creationId="{DD8CD542-37E0-47E0-945B-40AB4E5C2C34}"/>
          </ac:spMkLst>
        </pc:spChg>
        <pc:spChg chg="mod">
          <ac:chgData name="Zenos Zenica" userId="de3ee720dba36952" providerId="Windows Live" clId="Web-{87EC33F8-20F9-4A9B-8B0C-47C86D280FAD}" dt="2020-11-23T12:39:16.705" v="2239" actId="1076"/>
          <ac:spMkLst>
            <pc:docMk/>
            <pc:sldMk cId="348789314" sldId="361"/>
            <ac:spMk id="22" creationId="{78F35C4D-9606-4F9E-A76B-717D2B937139}"/>
          </ac:spMkLst>
        </pc:spChg>
        <pc:grpChg chg="mod">
          <ac:chgData name="Zenos Zenica" userId="de3ee720dba36952" providerId="Windows Live" clId="Web-{87EC33F8-20F9-4A9B-8B0C-47C86D280FAD}" dt="2020-11-23T12:39:16.720" v="2240" actId="1076"/>
          <ac:grpSpMkLst>
            <pc:docMk/>
            <pc:sldMk cId="348789314" sldId="361"/>
            <ac:grpSpMk id="11" creationId="{D31FD468-53C5-42D0-92C9-BE11EC1FB67F}"/>
          </ac:grpSpMkLst>
        </pc:grpChg>
      </pc:sldChg>
      <pc:sldChg chg="modSp add">
        <pc:chgData name="Zenos Zenica" userId="de3ee720dba36952" providerId="Windows Live" clId="Web-{87EC33F8-20F9-4A9B-8B0C-47C86D280FAD}" dt="2020-11-23T12:43:46.790" v="2318" actId="1076"/>
        <pc:sldMkLst>
          <pc:docMk/>
          <pc:sldMk cId="3263933948" sldId="362"/>
        </pc:sldMkLst>
        <pc:spChg chg="mod">
          <ac:chgData name="Zenos Zenica" userId="de3ee720dba36952" providerId="Windows Live" clId="Web-{87EC33F8-20F9-4A9B-8B0C-47C86D280FAD}" dt="2020-11-23T12:43:46.790" v="2318" actId="1076"/>
          <ac:spMkLst>
            <pc:docMk/>
            <pc:sldMk cId="3263933948" sldId="362"/>
            <ac:spMk id="4" creationId="{B8CB9108-1583-4A1C-846B-3263D00D0833}"/>
          </ac:spMkLst>
        </pc:spChg>
        <pc:spChg chg="mod">
          <ac:chgData name="Zenos Zenica" userId="de3ee720dba36952" providerId="Windows Live" clId="Web-{87EC33F8-20F9-4A9B-8B0C-47C86D280FAD}" dt="2020-11-23T12:41:50.771" v="2286" actId="1076"/>
          <ac:spMkLst>
            <pc:docMk/>
            <pc:sldMk cId="3263933948" sldId="362"/>
            <ac:spMk id="16" creationId="{8D015B4C-7BDE-4CF6-B1DF-C9FF97DCD775}"/>
          </ac:spMkLst>
        </pc:spChg>
        <pc:spChg chg="mod">
          <ac:chgData name="Zenos Zenica" userId="de3ee720dba36952" providerId="Windows Live" clId="Web-{87EC33F8-20F9-4A9B-8B0C-47C86D280FAD}" dt="2020-11-23T12:40:51.832" v="2269" actId="14100"/>
          <ac:spMkLst>
            <pc:docMk/>
            <pc:sldMk cId="3263933948" sldId="362"/>
            <ac:spMk id="17" creationId="{B3A360FC-7259-4651-A29F-042977C2617C}"/>
          </ac:spMkLst>
        </pc:spChg>
        <pc:spChg chg="mod">
          <ac:chgData name="Zenos Zenica" userId="de3ee720dba36952" providerId="Windows Live" clId="Web-{87EC33F8-20F9-4A9B-8B0C-47C86D280FAD}" dt="2020-11-23T12:43:28.430" v="2311" actId="1076"/>
          <ac:spMkLst>
            <pc:docMk/>
            <pc:sldMk cId="3263933948" sldId="362"/>
            <ac:spMk id="18" creationId="{3F005DF6-025C-4D79-AAD4-7099F96A9B84}"/>
          </ac:spMkLst>
        </pc:spChg>
        <pc:spChg chg="mod">
          <ac:chgData name="Zenos Zenica" userId="de3ee720dba36952" providerId="Windows Live" clId="Web-{87EC33F8-20F9-4A9B-8B0C-47C86D280FAD}" dt="2020-11-23T12:43:11.742" v="2310" actId="1076"/>
          <ac:spMkLst>
            <pc:docMk/>
            <pc:sldMk cId="3263933948" sldId="362"/>
            <ac:spMk id="19" creationId="{971A53F2-068D-4409-ACFB-86187A4F300D}"/>
          </ac:spMkLst>
        </pc:spChg>
        <pc:spChg chg="mod">
          <ac:chgData name="Zenos Zenica" userId="de3ee720dba36952" providerId="Windows Live" clId="Web-{87EC33F8-20F9-4A9B-8B0C-47C86D280FAD}" dt="2020-11-23T12:41:12.427" v="2280" actId="1076"/>
          <ac:spMkLst>
            <pc:docMk/>
            <pc:sldMk cId="3263933948" sldId="362"/>
            <ac:spMk id="22" creationId="{07B0C062-89A9-481A-8EED-AD7721322695}"/>
          </ac:spMkLst>
        </pc:spChg>
        <pc:spChg chg="mod">
          <ac:chgData name="Zenos Zenica" userId="de3ee720dba36952" providerId="Windows Live" clId="Web-{87EC33F8-20F9-4A9B-8B0C-47C86D280FAD}" dt="2020-11-23T12:41:12.270" v="2271" actId="1076"/>
          <ac:spMkLst>
            <pc:docMk/>
            <pc:sldMk cId="3263933948" sldId="362"/>
            <ac:spMk id="23" creationId="{3B7BE848-B9C8-4A06-92AC-28323191E590}"/>
          </ac:spMkLst>
        </pc:spChg>
        <pc:spChg chg="mod">
          <ac:chgData name="Zenos Zenica" userId="de3ee720dba36952" providerId="Windows Live" clId="Web-{87EC33F8-20F9-4A9B-8B0C-47C86D280FAD}" dt="2020-11-23T12:41:12.286" v="2272" actId="1076"/>
          <ac:spMkLst>
            <pc:docMk/>
            <pc:sldMk cId="3263933948" sldId="362"/>
            <ac:spMk id="24" creationId="{51CB2163-5B1D-420F-AAC9-CE32A87B823A}"/>
          </ac:spMkLst>
        </pc:spChg>
        <pc:spChg chg="mod">
          <ac:chgData name="Zenos Zenica" userId="de3ee720dba36952" providerId="Windows Live" clId="Web-{87EC33F8-20F9-4A9B-8B0C-47C86D280FAD}" dt="2020-11-23T12:41:12.302" v="2273" actId="1076"/>
          <ac:spMkLst>
            <pc:docMk/>
            <pc:sldMk cId="3263933948" sldId="362"/>
            <ac:spMk id="25" creationId="{73E51F7D-0D3F-462B-B3EB-945A970158ED}"/>
          </ac:spMkLst>
        </pc:spChg>
        <pc:spChg chg="mod">
          <ac:chgData name="Zenos Zenica" userId="de3ee720dba36952" providerId="Windows Live" clId="Web-{87EC33F8-20F9-4A9B-8B0C-47C86D280FAD}" dt="2020-11-23T12:41:12.317" v="2274" actId="1076"/>
          <ac:spMkLst>
            <pc:docMk/>
            <pc:sldMk cId="3263933948" sldId="362"/>
            <ac:spMk id="26" creationId="{BD42368B-7922-4168-9E0D-E67AC289E6B8}"/>
          </ac:spMkLst>
        </pc:spChg>
        <pc:spChg chg="mod">
          <ac:chgData name="Zenos Zenica" userId="de3ee720dba36952" providerId="Windows Live" clId="Web-{87EC33F8-20F9-4A9B-8B0C-47C86D280FAD}" dt="2020-11-23T12:41:12.333" v="2275" actId="1076"/>
          <ac:spMkLst>
            <pc:docMk/>
            <pc:sldMk cId="3263933948" sldId="362"/>
            <ac:spMk id="27" creationId="{BEC065EF-E396-434B-9711-A63692028898}"/>
          </ac:spMkLst>
        </pc:spChg>
        <pc:spChg chg="mod">
          <ac:chgData name="Zenos Zenica" userId="de3ee720dba36952" providerId="Windows Live" clId="Web-{87EC33F8-20F9-4A9B-8B0C-47C86D280FAD}" dt="2020-11-23T12:41:12.348" v="2276" actId="1076"/>
          <ac:spMkLst>
            <pc:docMk/>
            <pc:sldMk cId="3263933948" sldId="362"/>
            <ac:spMk id="28" creationId="{BC8C4D48-AAF5-4E77-87DB-A5F807A90DE4}"/>
          </ac:spMkLst>
        </pc:spChg>
        <pc:spChg chg="mod">
          <ac:chgData name="Zenos Zenica" userId="de3ee720dba36952" providerId="Windows Live" clId="Web-{87EC33F8-20F9-4A9B-8B0C-47C86D280FAD}" dt="2020-11-23T12:41:12.364" v="2277" actId="1076"/>
          <ac:spMkLst>
            <pc:docMk/>
            <pc:sldMk cId="3263933948" sldId="362"/>
            <ac:spMk id="29" creationId="{A7B685A6-D4C7-44E9-951B-7022BEF6089D}"/>
          </ac:spMkLst>
        </pc:spChg>
        <pc:spChg chg="mod">
          <ac:chgData name="Zenos Zenica" userId="de3ee720dba36952" providerId="Windows Live" clId="Web-{87EC33F8-20F9-4A9B-8B0C-47C86D280FAD}" dt="2020-11-23T12:41:12.380" v="2278" actId="1076"/>
          <ac:spMkLst>
            <pc:docMk/>
            <pc:sldMk cId="3263933948" sldId="362"/>
            <ac:spMk id="30" creationId="{5D9C329F-EAE0-4A7D-A444-1DB72D87DFCB}"/>
          </ac:spMkLst>
        </pc:spChg>
        <pc:spChg chg="mod">
          <ac:chgData name="Zenos Zenica" userId="de3ee720dba36952" providerId="Windows Live" clId="Web-{87EC33F8-20F9-4A9B-8B0C-47C86D280FAD}" dt="2020-11-23T12:42:49.242" v="2305" actId="1076"/>
          <ac:spMkLst>
            <pc:docMk/>
            <pc:sldMk cId="3263933948" sldId="362"/>
            <ac:spMk id="31" creationId="{2850A038-D12B-4DCE-A996-78602C02C579}"/>
          </ac:spMkLst>
        </pc:spChg>
        <pc:spChg chg="mod">
          <ac:chgData name="Zenos Zenica" userId="de3ee720dba36952" providerId="Windows Live" clId="Web-{87EC33F8-20F9-4A9B-8B0C-47C86D280FAD}" dt="2020-11-23T12:42:36.695" v="2301" actId="1076"/>
          <ac:spMkLst>
            <pc:docMk/>
            <pc:sldMk cId="3263933948" sldId="362"/>
            <ac:spMk id="32" creationId="{1636C762-3BC1-413E-8E38-BA05983529EC}"/>
          </ac:spMkLst>
        </pc:spChg>
        <pc:spChg chg="mod">
          <ac:chgData name="Zenos Zenica" userId="de3ee720dba36952" providerId="Windows Live" clId="Web-{87EC33F8-20F9-4A9B-8B0C-47C86D280FAD}" dt="2020-11-23T12:41:12.411" v="2279" actId="1076"/>
          <ac:spMkLst>
            <pc:docMk/>
            <pc:sldMk cId="3263933948" sldId="362"/>
            <ac:spMk id="33" creationId="{255F3EF2-2B7B-41DC-9FD1-F9D24FAC8F1F}"/>
          </ac:spMkLst>
        </pc:spChg>
      </pc:sldChg>
      <pc:sldChg chg="modSp add">
        <pc:chgData name="Zenos Zenica" userId="de3ee720dba36952" providerId="Windows Live" clId="Web-{87EC33F8-20F9-4A9B-8B0C-47C86D280FAD}" dt="2020-11-23T12:44:33.026" v="2331" actId="1076"/>
        <pc:sldMkLst>
          <pc:docMk/>
          <pc:sldMk cId="2969640709" sldId="363"/>
        </pc:sldMkLst>
        <pc:spChg chg="mod">
          <ac:chgData name="Zenos Zenica" userId="de3ee720dba36952" providerId="Windows Live" clId="Web-{87EC33F8-20F9-4A9B-8B0C-47C86D280FAD}" dt="2020-11-23T12:44:07.338" v="2325" actId="1076"/>
          <ac:spMkLst>
            <pc:docMk/>
            <pc:sldMk cId="2969640709" sldId="363"/>
            <ac:spMk id="4" creationId="{B8CB9108-1583-4A1C-846B-3263D00D0833}"/>
          </ac:spMkLst>
        </pc:spChg>
        <pc:spChg chg="mod">
          <ac:chgData name="Zenos Zenica" userId="de3ee720dba36952" providerId="Windows Live" clId="Web-{87EC33F8-20F9-4A9B-8B0C-47C86D280FAD}" dt="2020-11-23T12:44:33.026" v="2331" actId="1076"/>
          <ac:spMkLst>
            <pc:docMk/>
            <pc:sldMk cId="2969640709" sldId="363"/>
            <ac:spMk id="50" creationId="{C47E4B41-61C6-47B1-9C25-3CAC0B814247}"/>
          </ac:spMkLst>
        </pc:spChg>
      </pc:sldChg>
      <pc:sldChg chg="modSp add">
        <pc:chgData name="Zenos Zenica" userId="de3ee720dba36952" providerId="Windows Live" clId="Web-{87EC33F8-20F9-4A9B-8B0C-47C86D280FAD}" dt="2020-11-23T12:48:35.579" v="2411" actId="1076"/>
        <pc:sldMkLst>
          <pc:docMk/>
          <pc:sldMk cId="3491475963" sldId="364"/>
        </pc:sldMkLst>
        <pc:spChg chg="mod">
          <ac:chgData name="Zenos Zenica" userId="de3ee720dba36952" providerId="Windows Live" clId="Web-{87EC33F8-20F9-4A9B-8B0C-47C86D280FAD}" dt="2020-11-23T12:45:13.590" v="2337" actId="1076"/>
          <ac:spMkLst>
            <pc:docMk/>
            <pc:sldMk cId="3491475963" sldId="364"/>
            <ac:spMk id="4" creationId="{B8CB9108-1583-4A1C-846B-3263D00D0833}"/>
          </ac:spMkLst>
        </pc:spChg>
        <pc:spChg chg="mod">
          <ac:chgData name="Zenos Zenica" userId="de3ee720dba36952" providerId="Windows Live" clId="Web-{87EC33F8-20F9-4A9B-8B0C-47C86D280FAD}" dt="2020-11-23T12:45:34.168" v="2390"/>
          <ac:spMkLst>
            <pc:docMk/>
            <pc:sldMk cId="3491475963" sldId="364"/>
            <ac:spMk id="22" creationId="{361A3FCD-D7D7-4355-A5A1-9B54C1038196}"/>
          </ac:spMkLst>
        </pc:spChg>
        <pc:spChg chg="mod">
          <ac:chgData name="Zenos Zenica" userId="de3ee720dba36952" providerId="Windows Live" clId="Web-{87EC33F8-20F9-4A9B-8B0C-47C86D280FAD}" dt="2020-11-23T12:45:34.184" v="2391"/>
          <ac:spMkLst>
            <pc:docMk/>
            <pc:sldMk cId="3491475963" sldId="364"/>
            <ac:spMk id="23" creationId="{3B0031A6-37AF-4A14-9399-BFEF2633D35A}"/>
          </ac:spMkLst>
        </pc:spChg>
        <pc:spChg chg="mod">
          <ac:chgData name="Zenos Zenica" userId="de3ee720dba36952" providerId="Windows Live" clId="Web-{87EC33F8-20F9-4A9B-8B0C-47C86D280FAD}" dt="2020-11-23T12:45:34.215" v="2392"/>
          <ac:spMkLst>
            <pc:docMk/>
            <pc:sldMk cId="3491475963" sldId="364"/>
            <ac:spMk id="24" creationId="{74EC6A1F-D0DF-4D87-B9F0-1FF922EF1C32}"/>
          </ac:spMkLst>
        </pc:spChg>
        <pc:spChg chg="mod">
          <ac:chgData name="Zenos Zenica" userId="de3ee720dba36952" providerId="Windows Live" clId="Web-{87EC33F8-20F9-4A9B-8B0C-47C86D280FAD}" dt="2020-11-23T12:45:34.231" v="2393"/>
          <ac:spMkLst>
            <pc:docMk/>
            <pc:sldMk cId="3491475963" sldId="364"/>
            <ac:spMk id="25" creationId="{3E1AA224-C669-4D6B-9E49-4B7D3C684148}"/>
          </ac:spMkLst>
        </pc:spChg>
        <pc:spChg chg="mod">
          <ac:chgData name="Zenos Zenica" userId="de3ee720dba36952" providerId="Windows Live" clId="Web-{87EC33F8-20F9-4A9B-8B0C-47C86D280FAD}" dt="2020-11-23T12:45:34.246" v="2394"/>
          <ac:spMkLst>
            <pc:docMk/>
            <pc:sldMk cId="3491475963" sldId="364"/>
            <ac:spMk id="26" creationId="{8E976339-5835-448E-8AE2-B93D23E9593B}"/>
          </ac:spMkLst>
        </pc:spChg>
        <pc:spChg chg="mod">
          <ac:chgData name="Zenos Zenica" userId="de3ee720dba36952" providerId="Windows Live" clId="Web-{87EC33F8-20F9-4A9B-8B0C-47C86D280FAD}" dt="2020-11-23T12:45:34.262" v="2395"/>
          <ac:spMkLst>
            <pc:docMk/>
            <pc:sldMk cId="3491475963" sldId="364"/>
            <ac:spMk id="27" creationId="{C67F7723-1E47-4F65-8429-7019E5672075}"/>
          </ac:spMkLst>
        </pc:spChg>
        <pc:spChg chg="mod">
          <ac:chgData name="Zenos Zenica" userId="de3ee720dba36952" providerId="Windows Live" clId="Web-{87EC33F8-20F9-4A9B-8B0C-47C86D280FAD}" dt="2020-11-23T12:45:34.278" v="2396"/>
          <ac:spMkLst>
            <pc:docMk/>
            <pc:sldMk cId="3491475963" sldId="364"/>
            <ac:spMk id="28" creationId="{109F3C60-32FD-40AB-B3B6-CA40C2DBA79F}"/>
          </ac:spMkLst>
        </pc:spChg>
        <pc:spChg chg="mod">
          <ac:chgData name="Zenos Zenica" userId="de3ee720dba36952" providerId="Windows Live" clId="Web-{87EC33F8-20F9-4A9B-8B0C-47C86D280FAD}" dt="2020-11-23T12:45:34.293" v="2397"/>
          <ac:spMkLst>
            <pc:docMk/>
            <pc:sldMk cId="3491475963" sldId="364"/>
            <ac:spMk id="29" creationId="{F6AC6288-AA85-47F2-BA50-B6A2A9B64AC2}"/>
          </ac:spMkLst>
        </pc:spChg>
        <pc:spChg chg="mod">
          <ac:chgData name="Zenos Zenica" userId="de3ee720dba36952" providerId="Windows Live" clId="Web-{87EC33F8-20F9-4A9B-8B0C-47C86D280FAD}" dt="2020-11-23T12:45:34.309" v="2398"/>
          <ac:spMkLst>
            <pc:docMk/>
            <pc:sldMk cId="3491475963" sldId="364"/>
            <ac:spMk id="30" creationId="{BD98693B-F168-4AE4-9448-7BF01F4A2724}"/>
          </ac:spMkLst>
        </pc:spChg>
        <pc:spChg chg="mod">
          <ac:chgData name="Zenos Zenica" userId="de3ee720dba36952" providerId="Windows Live" clId="Web-{87EC33F8-20F9-4A9B-8B0C-47C86D280FAD}" dt="2020-11-23T12:47:36.734" v="2403" actId="1076"/>
          <ac:spMkLst>
            <pc:docMk/>
            <pc:sldMk cId="3491475963" sldId="364"/>
            <ac:spMk id="31" creationId="{BB3391A6-0CE4-46DA-BC63-DC03FCBC58DE}"/>
          </ac:spMkLst>
        </pc:spChg>
        <pc:spChg chg="mod">
          <ac:chgData name="Zenos Zenica" userId="de3ee720dba36952" providerId="Windows Live" clId="Web-{87EC33F8-20F9-4A9B-8B0C-47C86D280FAD}" dt="2020-11-23T12:47:44.937" v="2404" actId="1076"/>
          <ac:spMkLst>
            <pc:docMk/>
            <pc:sldMk cId="3491475963" sldId="364"/>
            <ac:spMk id="32" creationId="{D3182226-A86C-4C45-AE43-43514747DF31}"/>
          </ac:spMkLst>
        </pc:spChg>
        <pc:spChg chg="mod">
          <ac:chgData name="Zenos Zenica" userId="de3ee720dba36952" providerId="Windows Live" clId="Web-{87EC33F8-20F9-4A9B-8B0C-47C86D280FAD}" dt="2020-11-23T12:45:33.918" v="2376"/>
          <ac:spMkLst>
            <pc:docMk/>
            <pc:sldMk cId="3491475963" sldId="364"/>
            <ac:spMk id="33" creationId="{AF55652E-BF80-4906-80CD-420241EFFBDF}"/>
          </ac:spMkLst>
        </pc:spChg>
        <pc:spChg chg="mod">
          <ac:chgData name="Zenos Zenica" userId="de3ee720dba36952" providerId="Windows Live" clId="Web-{87EC33F8-20F9-4A9B-8B0C-47C86D280FAD}" dt="2020-11-23T12:45:33.949" v="2377"/>
          <ac:spMkLst>
            <pc:docMk/>
            <pc:sldMk cId="3491475963" sldId="364"/>
            <ac:spMk id="47" creationId="{AECEEAC5-F301-492B-8EC5-10575E31FB88}"/>
          </ac:spMkLst>
        </pc:spChg>
        <pc:spChg chg="mod">
          <ac:chgData name="Zenos Zenica" userId="de3ee720dba36952" providerId="Windows Live" clId="Web-{87EC33F8-20F9-4A9B-8B0C-47C86D280FAD}" dt="2020-11-23T12:45:33.965" v="2378"/>
          <ac:spMkLst>
            <pc:docMk/>
            <pc:sldMk cId="3491475963" sldId="364"/>
            <ac:spMk id="48" creationId="{8C58F44C-127B-41D4-8EA0-1F12C3EEBCF0}"/>
          </ac:spMkLst>
        </pc:spChg>
        <pc:spChg chg="mod">
          <ac:chgData name="Zenos Zenica" userId="de3ee720dba36952" providerId="Windows Live" clId="Web-{87EC33F8-20F9-4A9B-8B0C-47C86D280FAD}" dt="2020-11-23T12:45:33.981" v="2379"/>
          <ac:spMkLst>
            <pc:docMk/>
            <pc:sldMk cId="3491475963" sldId="364"/>
            <ac:spMk id="49" creationId="{58261CC9-FE84-4A55-97BD-4DC8FD78399D}"/>
          </ac:spMkLst>
        </pc:spChg>
        <pc:spChg chg="mod">
          <ac:chgData name="Zenos Zenica" userId="de3ee720dba36952" providerId="Windows Live" clId="Web-{87EC33F8-20F9-4A9B-8B0C-47C86D280FAD}" dt="2020-11-23T12:45:33.996" v="2380"/>
          <ac:spMkLst>
            <pc:docMk/>
            <pc:sldMk cId="3491475963" sldId="364"/>
            <ac:spMk id="51" creationId="{47EBE585-CA3F-48DE-9A86-B30384E17B77}"/>
          </ac:spMkLst>
        </pc:spChg>
        <pc:spChg chg="mod">
          <ac:chgData name="Zenos Zenica" userId="de3ee720dba36952" providerId="Windows Live" clId="Web-{87EC33F8-20F9-4A9B-8B0C-47C86D280FAD}" dt="2020-11-23T12:45:34.012" v="2381"/>
          <ac:spMkLst>
            <pc:docMk/>
            <pc:sldMk cId="3491475963" sldId="364"/>
            <ac:spMk id="52" creationId="{89D57022-679B-4654-A934-77F162EDB5AD}"/>
          </ac:spMkLst>
        </pc:spChg>
        <pc:spChg chg="mod">
          <ac:chgData name="Zenos Zenica" userId="de3ee720dba36952" providerId="Windows Live" clId="Web-{87EC33F8-20F9-4A9B-8B0C-47C86D280FAD}" dt="2020-11-23T12:48:35.579" v="2411" actId="1076"/>
          <ac:spMkLst>
            <pc:docMk/>
            <pc:sldMk cId="3491475963" sldId="364"/>
            <ac:spMk id="53" creationId="{D0CCABA2-3988-4478-BFDB-D8053331DE5E}"/>
          </ac:spMkLst>
        </pc:spChg>
        <pc:spChg chg="mod">
          <ac:chgData name="Zenos Zenica" userId="de3ee720dba36952" providerId="Windows Live" clId="Web-{87EC33F8-20F9-4A9B-8B0C-47C86D280FAD}" dt="2020-11-23T12:48:21.876" v="2410" actId="1076"/>
          <ac:spMkLst>
            <pc:docMk/>
            <pc:sldMk cId="3491475963" sldId="364"/>
            <ac:spMk id="54" creationId="{05BBC4BB-1E04-4460-870C-A88CB6646529}"/>
          </ac:spMkLst>
        </pc:spChg>
        <pc:spChg chg="mod">
          <ac:chgData name="Zenos Zenica" userId="de3ee720dba36952" providerId="Windows Live" clId="Web-{87EC33F8-20F9-4A9B-8B0C-47C86D280FAD}" dt="2020-11-23T12:45:34.059" v="2384"/>
          <ac:spMkLst>
            <pc:docMk/>
            <pc:sldMk cId="3491475963" sldId="364"/>
            <ac:spMk id="55" creationId="{27EB0714-4A05-4D11-9ED9-7A9281428A20}"/>
          </ac:spMkLst>
        </pc:spChg>
        <pc:spChg chg="mod">
          <ac:chgData name="Zenos Zenica" userId="de3ee720dba36952" providerId="Windows Live" clId="Web-{87EC33F8-20F9-4A9B-8B0C-47C86D280FAD}" dt="2020-11-23T12:45:34.090" v="2385"/>
          <ac:spMkLst>
            <pc:docMk/>
            <pc:sldMk cId="3491475963" sldId="364"/>
            <ac:spMk id="56" creationId="{0220A0EC-A3A1-41E0-9EE8-6F8628EB08D3}"/>
          </ac:spMkLst>
        </pc:spChg>
        <pc:spChg chg="mod">
          <ac:chgData name="Zenos Zenica" userId="de3ee720dba36952" providerId="Windows Live" clId="Web-{87EC33F8-20F9-4A9B-8B0C-47C86D280FAD}" dt="2020-11-23T12:48:00.141" v="2408" actId="1076"/>
          <ac:spMkLst>
            <pc:docMk/>
            <pc:sldMk cId="3491475963" sldId="364"/>
            <ac:spMk id="58" creationId="{05556B01-6051-4402-AED7-C5CA00BE8B6C}"/>
          </ac:spMkLst>
        </pc:spChg>
        <pc:spChg chg="mod">
          <ac:chgData name="Zenos Zenica" userId="de3ee720dba36952" providerId="Windows Live" clId="Web-{87EC33F8-20F9-4A9B-8B0C-47C86D280FAD}" dt="2020-11-23T12:48:12.235" v="2409" actId="1076"/>
          <ac:spMkLst>
            <pc:docMk/>
            <pc:sldMk cId="3491475963" sldId="364"/>
            <ac:spMk id="59" creationId="{6F13B00C-F0FA-46B1-9A1E-F4C15FBAAB84}"/>
          </ac:spMkLst>
        </pc:spChg>
        <pc:spChg chg="mod">
          <ac:chgData name="Zenos Zenica" userId="de3ee720dba36952" providerId="Windows Live" clId="Web-{87EC33F8-20F9-4A9B-8B0C-47C86D280FAD}" dt="2020-11-23T12:45:34.137" v="2388"/>
          <ac:spMkLst>
            <pc:docMk/>
            <pc:sldMk cId="3491475963" sldId="364"/>
            <ac:spMk id="60" creationId="{3DDC76B6-B4A4-4499-9135-5BDE62473681}"/>
          </ac:spMkLst>
        </pc:spChg>
        <pc:spChg chg="mod">
          <ac:chgData name="Zenos Zenica" userId="de3ee720dba36952" providerId="Windows Live" clId="Web-{87EC33F8-20F9-4A9B-8B0C-47C86D280FAD}" dt="2020-11-23T12:45:34.153" v="2389"/>
          <ac:spMkLst>
            <pc:docMk/>
            <pc:sldMk cId="3491475963" sldId="364"/>
            <ac:spMk id="61" creationId="{D1DCE71F-8712-4E81-8EDB-9CF5ED34B335}"/>
          </ac:spMkLst>
        </pc:spChg>
        <pc:spChg chg="mod">
          <ac:chgData name="Zenos Zenica" userId="de3ee720dba36952" providerId="Windows Live" clId="Web-{87EC33F8-20F9-4A9B-8B0C-47C86D280FAD}" dt="2020-11-23T12:45:34.324" v="2399"/>
          <ac:spMkLst>
            <pc:docMk/>
            <pc:sldMk cId="3491475963" sldId="364"/>
            <ac:spMk id="62" creationId="{61CFDF05-6B57-4B13-8D8A-CFC115D9461D}"/>
          </ac:spMkLst>
        </pc:spChg>
      </pc:sldChg>
      <pc:sldChg chg="modSp add">
        <pc:chgData name="Zenos Zenica" userId="de3ee720dba36952" providerId="Windows Live" clId="Web-{87EC33F8-20F9-4A9B-8B0C-47C86D280FAD}" dt="2020-11-23T12:49:46.035" v="2429" actId="20577"/>
        <pc:sldMkLst>
          <pc:docMk/>
          <pc:sldMk cId="2677811991" sldId="365"/>
        </pc:sldMkLst>
        <pc:spChg chg="mod">
          <ac:chgData name="Zenos Zenica" userId="de3ee720dba36952" providerId="Windows Live" clId="Web-{87EC33F8-20F9-4A9B-8B0C-47C86D280FAD}" dt="2020-11-23T12:49:46.035" v="2429" actId="20577"/>
          <ac:spMkLst>
            <pc:docMk/>
            <pc:sldMk cId="2677811991" sldId="365"/>
            <ac:spMk id="4" creationId="{B8CB9108-1583-4A1C-846B-3263D00D0833}"/>
          </ac:spMkLst>
        </pc:spChg>
        <pc:graphicFrameChg chg="mod modGraphic">
          <ac:chgData name="Zenos Zenica" userId="de3ee720dba36952" providerId="Windows Live" clId="Web-{87EC33F8-20F9-4A9B-8B0C-47C86D280FAD}" dt="2020-11-23T12:48:59.174" v="2413"/>
          <ac:graphicFrameMkLst>
            <pc:docMk/>
            <pc:sldMk cId="2677811991" sldId="365"/>
            <ac:graphicFrameMk id="3" creationId="{28726636-ABE3-45B0-A1AF-41D2E68D365B}"/>
          </ac:graphicFrameMkLst>
        </pc:graphicFrameChg>
      </pc:sldChg>
      <pc:sldChg chg="modSp add">
        <pc:chgData name="Zenos Zenica" userId="de3ee720dba36952" providerId="Windows Live" clId="Web-{87EC33F8-20F9-4A9B-8B0C-47C86D280FAD}" dt="2020-11-23T12:51:21.990" v="2467" actId="1076"/>
        <pc:sldMkLst>
          <pc:docMk/>
          <pc:sldMk cId="1943448107" sldId="366"/>
        </pc:sldMkLst>
        <pc:spChg chg="mod">
          <ac:chgData name="Zenos Zenica" userId="de3ee720dba36952" providerId="Windows Live" clId="Web-{87EC33F8-20F9-4A9B-8B0C-47C86D280FAD}" dt="2020-11-23T12:51:21.990" v="2467" actId="1076"/>
          <ac:spMkLst>
            <pc:docMk/>
            <pc:sldMk cId="1943448107" sldId="366"/>
            <ac:spMk id="4" creationId="{B8CB9108-1583-4A1C-846B-3263D00D0833}"/>
          </ac:spMkLst>
        </pc:spChg>
        <pc:spChg chg="mod">
          <ac:chgData name="Zenos Zenica" userId="de3ee720dba36952" providerId="Windows Live" clId="Web-{87EC33F8-20F9-4A9B-8B0C-47C86D280FAD}" dt="2020-11-23T12:50:21.707" v="2442" actId="14100"/>
          <ac:spMkLst>
            <pc:docMk/>
            <pc:sldMk cId="1943448107" sldId="366"/>
            <ac:spMk id="44" creationId="{E7F1E198-9CBD-4399-80E1-7EC790857C0D}"/>
          </ac:spMkLst>
        </pc:spChg>
        <pc:spChg chg="mod">
          <ac:chgData name="Zenos Zenica" userId="de3ee720dba36952" providerId="Windows Live" clId="Web-{87EC33F8-20F9-4A9B-8B0C-47C86D280FAD}" dt="2020-11-23T12:50:21.723" v="2443" actId="14100"/>
          <ac:spMkLst>
            <pc:docMk/>
            <pc:sldMk cId="1943448107" sldId="366"/>
            <ac:spMk id="45" creationId="{D7020E99-4EAB-4B3D-87A5-A5CB504D357C}"/>
          </ac:spMkLst>
        </pc:spChg>
        <pc:spChg chg="mod">
          <ac:chgData name="Zenos Zenica" userId="de3ee720dba36952" providerId="Windows Live" clId="Web-{87EC33F8-20F9-4A9B-8B0C-47C86D280FAD}" dt="2020-11-23T12:50:21.739" v="2444" actId="14100"/>
          <ac:spMkLst>
            <pc:docMk/>
            <pc:sldMk cId="1943448107" sldId="366"/>
            <ac:spMk id="46" creationId="{16F290D5-A46F-45E1-915B-5B788CC469EF}"/>
          </ac:spMkLst>
        </pc:spChg>
        <pc:spChg chg="mod">
          <ac:chgData name="Zenos Zenica" userId="de3ee720dba36952" providerId="Windows Live" clId="Web-{87EC33F8-20F9-4A9B-8B0C-47C86D280FAD}" dt="2020-11-23T12:50:21.754" v="2445" actId="14100"/>
          <ac:spMkLst>
            <pc:docMk/>
            <pc:sldMk cId="1943448107" sldId="366"/>
            <ac:spMk id="47" creationId="{BE371A80-2FD3-418A-88AD-DF965026EA8E}"/>
          </ac:spMkLst>
        </pc:spChg>
        <pc:spChg chg="mod">
          <ac:chgData name="Zenos Zenica" userId="de3ee720dba36952" providerId="Windows Live" clId="Web-{87EC33F8-20F9-4A9B-8B0C-47C86D280FAD}" dt="2020-11-23T12:50:21.770" v="2446" actId="14100"/>
          <ac:spMkLst>
            <pc:docMk/>
            <pc:sldMk cId="1943448107" sldId="366"/>
            <ac:spMk id="48" creationId="{6953212D-847D-4A50-8243-1BCCBC40FB71}"/>
          </ac:spMkLst>
        </pc:spChg>
        <pc:spChg chg="mod">
          <ac:chgData name="Zenos Zenica" userId="de3ee720dba36952" providerId="Windows Live" clId="Web-{87EC33F8-20F9-4A9B-8B0C-47C86D280FAD}" dt="2020-11-23T12:50:21.786" v="2447" actId="14100"/>
          <ac:spMkLst>
            <pc:docMk/>
            <pc:sldMk cId="1943448107" sldId="366"/>
            <ac:spMk id="49" creationId="{A4239A40-6F41-4ACC-BF61-B7F9A58D9C63}"/>
          </ac:spMkLst>
        </pc:spChg>
        <pc:spChg chg="mod">
          <ac:chgData name="Zenos Zenica" userId="de3ee720dba36952" providerId="Windows Live" clId="Web-{87EC33F8-20F9-4A9B-8B0C-47C86D280FAD}" dt="2020-11-23T12:50:21.801" v="2448" actId="14100"/>
          <ac:spMkLst>
            <pc:docMk/>
            <pc:sldMk cId="1943448107" sldId="366"/>
            <ac:spMk id="50" creationId="{565618B1-1793-48A9-9C0E-CC6434519A95}"/>
          </ac:spMkLst>
        </pc:spChg>
        <pc:spChg chg="mod">
          <ac:chgData name="Zenos Zenica" userId="de3ee720dba36952" providerId="Windows Live" clId="Web-{87EC33F8-20F9-4A9B-8B0C-47C86D280FAD}" dt="2020-11-23T12:50:21.817" v="2449" actId="14100"/>
          <ac:spMkLst>
            <pc:docMk/>
            <pc:sldMk cId="1943448107" sldId="366"/>
            <ac:spMk id="51" creationId="{3800F636-6C76-4BDD-AE3F-7EC38FCBA926}"/>
          </ac:spMkLst>
        </pc:spChg>
        <pc:spChg chg="mod">
          <ac:chgData name="Zenos Zenica" userId="de3ee720dba36952" providerId="Windows Live" clId="Web-{87EC33F8-20F9-4A9B-8B0C-47C86D280FAD}" dt="2020-11-23T12:50:47.271" v="2455" actId="20577"/>
          <ac:spMkLst>
            <pc:docMk/>
            <pc:sldMk cId="1943448107" sldId="366"/>
            <ac:spMk id="52" creationId="{5E1B59D1-8158-443B-AA09-E291E0D17946}"/>
          </ac:spMkLst>
        </pc:spChg>
        <pc:spChg chg="mod">
          <ac:chgData name="Zenos Zenica" userId="de3ee720dba36952" providerId="Windows Live" clId="Web-{87EC33F8-20F9-4A9B-8B0C-47C86D280FAD}" dt="2020-11-23T12:50:21.864" v="2451" actId="14100"/>
          <ac:spMkLst>
            <pc:docMk/>
            <pc:sldMk cId="1943448107" sldId="366"/>
            <ac:spMk id="53" creationId="{27258068-5516-42F1-AA0A-709605537A0D}"/>
          </ac:spMkLst>
        </pc:spChg>
      </pc:sldChg>
      <pc:sldChg chg="modSp add">
        <pc:chgData name="Zenos Zenica" userId="de3ee720dba36952" providerId="Windows Live" clId="Web-{87EC33F8-20F9-4A9B-8B0C-47C86D280FAD}" dt="2020-11-23T12:53:21.759" v="2503" actId="1076"/>
        <pc:sldMkLst>
          <pc:docMk/>
          <pc:sldMk cId="2803471758" sldId="367"/>
        </pc:sldMkLst>
        <pc:spChg chg="mod">
          <ac:chgData name="Zenos Zenica" userId="de3ee720dba36952" providerId="Windows Live" clId="Web-{87EC33F8-20F9-4A9B-8B0C-47C86D280FAD}" dt="2020-11-23T12:53:21.759" v="2503" actId="1076"/>
          <ac:spMkLst>
            <pc:docMk/>
            <pc:sldMk cId="2803471758" sldId="367"/>
            <ac:spMk id="4" creationId="{B8CB9108-1583-4A1C-846B-3263D00D0833}"/>
          </ac:spMkLst>
        </pc:spChg>
        <pc:spChg chg="mod">
          <ac:chgData name="Zenos Zenica" userId="de3ee720dba36952" providerId="Windows Live" clId="Web-{87EC33F8-20F9-4A9B-8B0C-47C86D280FAD}" dt="2020-11-23T12:51:48.694" v="2468"/>
          <ac:spMkLst>
            <pc:docMk/>
            <pc:sldMk cId="2803471758" sldId="367"/>
            <ac:spMk id="5" creationId="{34A227D9-5D25-4944-BD1D-740B5D680293}"/>
          </ac:spMkLst>
        </pc:spChg>
        <pc:spChg chg="mod">
          <ac:chgData name="Zenos Zenica" userId="de3ee720dba36952" providerId="Windows Live" clId="Web-{87EC33F8-20F9-4A9B-8B0C-47C86D280FAD}" dt="2020-11-23T12:51:48.710" v="2469"/>
          <ac:spMkLst>
            <pc:docMk/>
            <pc:sldMk cId="2803471758" sldId="367"/>
            <ac:spMk id="6" creationId="{845CB6DF-9630-470E-BB82-B110AAE7D051}"/>
          </ac:spMkLst>
        </pc:spChg>
        <pc:spChg chg="mod">
          <ac:chgData name="Zenos Zenica" userId="de3ee720dba36952" providerId="Windows Live" clId="Web-{87EC33F8-20F9-4A9B-8B0C-47C86D280FAD}" dt="2020-11-23T12:51:48.725" v="2470"/>
          <ac:spMkLst>
            <pc:docMk/>
            <pc:sldMk cId="2803471758" sldId="367"/>
            <ac:spMk id="7" creationId="{AC88BBFC-4ED4-4455-A8AC-AB4024A586C2}"/>
          </ac:spMkLst>
        </pc:spChg>
        <pc:spChg chg="mod">
          <ac:chgData name="Zenos Zenica" userId="de3ee720dba36952" providerId="Windows Live" clId="Web-{87EC33F8-20F9-4A9B-8B0C-47C86D280FAD}" dt="2020-11-23T12:51:48.725" v="2471"/>
          <ac:spMkLst>
            <pc:docMk/>
            <pc:sldMk cId="2803471758" sldId="367"/>
            <ac:spMk id="8" creationId="{F634E31C-269B-4FB0-AF15-A94E6E7DF9A1}"/>
          </ac:spMkLst>
        </pc:spChg>
        <pc:spChg chg="mod">
          <ac:chgData name="Zenos Zenica" userId="de3ee720dba36952" providerId="Windows Live" clId="Web-{87EC33F8-20F9-4A9B-8B0C-47C86D280FAD}" dt="2020-11-23T12:51:48.741" v="2472"/>
          <ac:spMkLst>
            <pc:docMk/>
            <pc:sldMk cId="2803471758" sldId="367"/>
            <ac:spMk id="9" creationId="{376AE35B-79FA-4852-BC06-7A0E1FE4415E}"/>
          </ac:spMkLst>
        </pc:spChg>
        <pc:spChg chg="mod">
          <ac:chgData name="Zenos Zenica" userId="de3ee720dba36952" providerId="Windows Live" clId="Web-{87EC33F8-20F9-4A9B-8B0C-47C86D280FAD}" dt="2020-11-23T12:51:48.757" v="2473"/>
          <ac:spMkLst>
            <pc:docMk/>
            <pc:sldMk cId="2803471758" sldId="367"/>
            <ac:spMk id="10" creationId="{0825ECFC-6D78-4E4E-95C0-CF2AFF478A52}"/>
          </ac:spMkLst>
        </pc:spChg>
        <pc:spChg chg="mod">
          <ac:chgData name="Zenos Zenica" userId="de3ee720dba36952" providerId="Windows Live" clId="Web-{87EC33F8-20F9-4A9B-8B0C-47C86D280FAD}" dt="2020-11-23T12:51:48.757" v="2474"/>
          <ac:spMkLst>
            <pc:docMk/>
            <pc:sldMk cId="2803471758" sldId="367"/>
            <ac:spMk id="11" creationId="{7587EE69-2279-4FAB-B62D-FD2BA6097E73}"/>
          </ac:spMkLst>
        </pc:spChg>
        <pc:spChg chg="mod">
          <ac:chgData name="Zenos Zenica" userId="de3ee720dba36952" providerId="Windows Live" clId="Web-{87EC33F8-20F9-4A9B-8B0C-47C86D280FAD}" dt="2020-11-23T12:51:48.772" v="2475"/>
          <ac:spMkLst>
            <pc:docMk/>
            <pc:sldMk cId="2803471758" sldId="367"/>
            <ac:spMk id="12" creationId="{B5E7E6C6-9382-4C53-8B1C-C0C413D7BE90}"/>
          </ac:spMkLst>
        </pc:spChg>
        <pc:spChg chg="mod">
          <ac:chgData name="Zenos Zenica" userId="de3ee720dba36952" providerId="Windows Live" clId="Web-{87EC33F8-20F9-4A9B-8B0C-47C86D280FAD}" dt="2020-11-23T12:51:48.788" v="2476"/>
          <ac:spMkLst>
            <pc:docMk/>
            <pc:sldMk cId="2803471758" sldId="367"/>
            <ac:spMk id="13" creationId="{C9DE330B-12E4-403A-8DEF-4B4552D35ED8}"/>
          </ac:spMkLst>
        </pc:spChg>
        <pc:spChg chg="mod">
          <ac:chgData name="Zenos Zenica" userId="de3ee720dba36952" providerId="Windows Live" clId="Web-{87EC33F8-20F9-4A9B-8B0C-47C86D280FAD}" dt="2020-11-23T12:52:23.680" v="2492" actId="1076"/>
          <ac:spMkLst>
            <pc:docMk/>
            <pc:sldMk cId="2803471758" sldId="367"/>
            <ac:spMk id="14" creationId="{41E66332-F657-4070-BABA-2C661A5549F1}"/>
          </ac:spMkLst>
        </pc:spChg>
        <pc:spChg chg="mod">
          <ac:chgData name="Zenos Zenica" userId="de3ee720dba36952" providerId="Windows Live" clId="Web-{87EC33F8-20F9-4A9B-8B0C-47C86D280FAD}" dt="2020-11-23T12:51:48.804" v="2478"/>
          <ac:spMkLst>
            <pc:docMk/>
            <pc:sldMk cId="2803471758" sldId="367"/>
            <ac:spMk id="15" creationId="{5947AC03-28D1-4A7C-98D1-64B81B79AA91}"/>
          </ac:spMkLst>
        </pc:spChg>
        <pc:spChg chg="mod">
          <ac:chgData name="Zenos Zenica" userId="de3ee720dba36952" providerId="Windows Live" clId="Web-{87EC33F8-20F9-4A9B-8B0C-47C86D280FAD}" dt="2020-11-23T12:52:38.321" v="2495" actId="1076"/>
          <ac:spMkLst>
            <pc:docMk/>
            <pc:sldMk cId="2803471758" sldId="367"/>
            <ac:spMk id="16" creationId="{8D02BF83-6A7C-43DB-988E-3BF205FF2B9E}"/>
          </ac:spMkLst>
        </pc:spChg>
        <pc:spChg chg="mod">
          <ac:chgData name="Zenos Zenica" userId="de3ee720dba36952" providerId="Windows Live" clId="Web-{87EC33F8-20F9-4A9B-8B0C-47C86D280FAD}" dt="2020-11-23T12:52:04.898" v="2489" actId="20577"/>
          <ac:spMkLst>
            <pc:docMk/>
            <pc:sldMk cId="2803471758" sldId="367"/>
            <ac:spMk id="17" creationId="{82C68E9D-2EDA-40FC-9F18-C5BC434C7A8E}"/>
          </ac:spMkLst>
        </pc:spChg>
        <pc:spChg chg="mod">
          <ac:chgData name="Zenos Zenica" userId="de3ee720dba36952" providerId="Windows Live" clId="Web-{87EC33F8-20F9-4A9B-8B0C-47C86D280FAD}" dt="2020-11-23T12:52:28.508" v="2493" actId="1076"/>
          <ac:spMkLst>
            <pc:docMk/>
            <pc:sldMk cId="2803471758" sldId="367"/>
            <ac:spMk id="18" creationId="{6B14D351-4425-41A8-90F9-0007560AE176}"/>
          </ac:spMkLst>
        </pc:spChg>
        <pc:spChg chg="mod">
          <ac:chgData name="Zenos Zenica" userId="de3ee720dba36952" providerId="Windows Live" clId="Web-{87EC33F8-20F9-4A9B-8B0C-47C86D280FAD}" dt="2020-11-23T12:51:48.835" v="2480"/>
          <ac:spMkLst>
            <pc:docMk/>
            <pc:sldMk cId="2803471758" sldId="367"/>
            <ac:spMk id="19" creationId="{4596200A-24A8-492C-BFDE-5258D1C1747B}"/>
          </ac:spMkLst>
        </pc:spChg>
        <pc:spChg chg="mod">
          <ac:chgData name="Zenos Zenica" userId="de3ee720dba36952" providerId="Windows Live" clId="Web-{87EC33F8-20F9-4A9B-8B0C-47C86D280FAD}" dt="2020-11-23T12:52:32.649" v="2494" actId="1076"/>
          <ac:spMkLst>
            <pc:docMk/>
            <pc:sldMk cId="2803471758" sldId="367"/>
            <ac:spMk id="20" creationId="{85B8CDD4-D719-4F43-8247-44B231B431A2}"/>
          </ac:spMkLst>
        </pc:spChg>
        <pc:spChg chg="mod">
          <ac:chgData name="Zenos Zenica" userId="de3ee720dba36952" providerId="Windows Live" clId="Web-{87EC33F8-20F9-4A9B-8B0C-47C86D280FAD}" dt="2020-11-23T12:51:48.850" v="2482"/>
          <ac:spMkLst>
            <pc:docMk/>
            <pc:sldMk cId="2803471758" sldId="367"/>
            <ac:spMk id="21" creationId="{4DAD6A1B-E939-4B18-8F65-385B23A6F1A4}"/>
          </ac:spMkLst>
        </pc:spChg>
      </pc:sldChg>
      <pc:sldChg chg="modSp add del">
        <pc:chgData name="Zenos Zenica" userId="de3ee720dba36952" providerId="Windows Live" clId="Web-{87EC33F8-20F9-4A9B-8B0C-47C86D280FAD}" dt="2020-11-23T12:55:38.560" v="2525"/>
        <pc:sldMkLst>
          <pc:docMk/>
          <pc:sldMk cId="198519316" sldId="368"/>
        </pc:sldMkLst>
        <pc:spChg chg="mod">
          <ac:chgData name="Zenos Zenica" userId="de3ee720dba36952" providerId="Windows Live" clId="Web-{87EC33F8-20F9-4A9B-8B0C-47C86D280FAD}" dt="2020-11-23T12:54:06.401" v="2513" actId="1076"/>
          <ac:spMkLst>
            <pc:docMk/>
            <pc:sldMk cId="198519316" sldId="368"/>
            <ac:spMk id="2" creationId="{38B4E260-12F3-4A00-968A-9E9720209DA1}"/>
          </ac:spMkLst>
        </pc:spChg>
        <pc:graphicFrameChg chg="mod modGraphic">
          <ac:chgData name="Zenos Zenica" userId="de3ee720dba36952" providerId="Windows Live" clId="Web-{87EC33F8-20F9-4A9B-8B0C-47C86D280FAD}" dt="2020-11-23T12:55:06.856" v="2523"/>
          <ac:graphicFrameMkLst>
            <pc:docMk/>
            <pc:sldMk cId="198519316" sldId="368"/>
            <ac:graphicFrameMk id="3" creationId="{C1559540-4AE0-4200-867B-8DF9AE0D32A0}"/>
          </ac:graphicFrameMkLst>
        </pc:graphicFrameChg>
      </pc:sldChg>
      <pc:sldChg chg="modSp add">
        <pc:chgData name="Zenos Zenica" userId="de3ee720dba36952" providerId="Windows Live" clId="Web-{87EC33F8-20F9-4A9B-8B0C-47C86D280FAD}" dt="2020-11-23T12:59:40.845" v="2605" actId="1076"/>
        <pc:sldMkLst>
          <pc:docMk/>
          <pc:sldMk cId="1349833571" sldId="369"/>
        </pc:sldMkLst>
        <pc:spChg chg="mod">
          <ac:chgData name="Zenos Zenica" userId="de3ee720dba36952" providerId="Windows Live" clId="Web-{87EC33F8-20F9-4A9B-8B0C-47C86D280FAD}" dt="2020-11-23T12:59:40.845" v="2605" actId="1076"/>
          <ac:spMkLst>
            <pc:docMk/>
            <pc:sldMk cId="1349833571" sldId="369"/>
            <ac:spMk id="4" creationId="{B8CB9108-1583-4A1C-846B-3263D00D0833}"/>
          </ac:spMkLst>
        </pc:spChg>
        <pc:graphicFrameChg chg="mod modGraphic">
          <ac:chgData name="Zenos Zenica" userId="de3ee720dba36952" providerId="Windows Live" clId="Web-{87EC33F8-20F9-4A9B-8B0C-47C86D280FAD}" dt="2020-11-23T12:59:34.282" v="2604"/>
          <ac:graphicFrameMkLst>
            <pc:docMk/>
            <pc:sldMk cId="1349833571" sldId="369"/>
            <ac:graphicFrameMk id="3" creationId="{C1559540-4AE0-4200-867B-8DF9AE0D32A0}"/>
          </ac:graphicFrameMkLst>
        </pc:graphicFrameChg>
      </pc:sldChg>
      <pc:sldChg chg="modSp add">
        <pc:chgData name="Zenos Zenica" userId="de3ee720dba36952" providerId="Windows Live" clId="Web-{87EC33F8-20F9-4A9B-8B0C-47C86D280FAD}" dt="2020-11-23T13:11:31.958" v="2698" actId="20577"/>
        <pc:sldMkLst>
          <pc:docMk/>
          <pc:sldMk cId="597611853" sldId="370"/>
        </pc:sldMkLst>
        <pc:spChg chg="mod">
          <ac:chgData name="Zenos Zenica" userId="de3ee720dba36952" providerId="Windows Live" clId="Web-{87EC33F8-20F9-4A9B-8B0C-47C86D280FAD}" dt="2020-11-23T13:09:47.190" v="2609" actId="20577"/>
          <ac:spMkLst>
            <pc:docMk/>
            <pc:sldMk cId="597611853" sldId="370"/>
            <ac:spMk id="4" creationId="{B8CB9108-1583-4A1C-846B-3263D00D0833}"/>
          </ac:spMkLst>
        </pc:spChg>
        <pc:spChg chg="mod">
          <ac:chgData name="Zenos Zenica" userId="de3ee720dba36952" providerId="Windows Live" clId="Web-{87EC33F8-20F9-4A9B-8B0C-47C86D280FAD}" dt="2020-11-23T13:10:37.707" v="2646"/>
          <ac:spMkLst>
            <pc:docMk/>
            <pc:sldMk cId="597611853" sldId="370"/>
            <ac:spMk id="6" creationId="{4E406E1A-1910-4BD8-979A-A60E3BFF5AA1}"/>
          </ac:spMkLst>
        </pc:spChg>
        <pc:spChg chg="mod">
          <ac:chgData name="Zenos Zenica" userId="de3ee720dba36952" providerId="Windows Live" clId="Web-{87EC33F8-20F9-4A9B-8B0C-47C86D280FAD}" dt="2020-11-23T13:10:37.722" v="2647"/>
          <ac:spMkLst>
            <pc:docMk/>
            <pc:sldMk cId="597611853" sldId="370"/>
            <ac:spMk id="7" creationId="{7E627314-754B-4EC7-8B52-478A47DFA387}"/>
          </ac:spMkLst>
        </pc:spChg>
        <pc:spChg chg="mod">
          <ac:chgData name="Zenos Zenica" userId="de3ee720dba36952" providerId="Windows Live" clId="Web-{87EC33F8-20F9-4A9B-8B0C-47C86D280FAD}" dt="2020-11-23T13:10:37.738" v="2648"/>
          <ac:spMkLst>
            <pc:docMk/>
            <pc:sldMk cId="597611853" sldId="370"/>
            <ac:spMk id="8" creationId="{90226900-FB06-40B0-AF09-6F792763B360}"/>
          </ac:spMkLst>
        </pc:spChg>
        <pc:spChg chg="mod">
          <ac:chgData name="Zenos Zenica" userId="de3ee720dba36952" providerId="Windows Live" clId="Web-{87EC33F8-20F9-4A9B-8B0C-47C86D280FAD}" dt="2020-11-23T13:10:37.754" v="2649"/>
          <ac:spMkLst>
            <pc:docMk/>
            <pc:sldMk cId="597611853" sldId="370"/>
            <ac:spMk id="10" creationId="{7DAAD918-3866-4CE2-8136-D9C9C77DA125}"/>
          </ac:spMkLst>
        </pc:spChg>
        <pc:spChg chg="mod">
          <ac:chgData name="Zenos Zenica" userId="de3ee720dba36952" providerId="Windows Live" clId="Web-{87EC33F8-20F9-4A9B-8B0C-47C86D280FAD}" dt="2020-11-23T13:10:37.769" v="2650"/>
          <ac:spMkLst>
            <pc:docMk/>
            <pc:sldMk cId="597611853" sldId="370"/>
            <ac:spMk id="11" creationId="{999C52A7-8A57-48EC-BEFB-F53AF0C79827}"/>
          </ac:spMkLst>
        </pc:spChg>
        <pc:spChg chg="mod">
          <ac:chgData name="Zenos Zenica" userId="de3ee720dba36952" providerId="Windows Live" clId="Web-{87EC33F8-20F9-4A9B-8B0C-47C86D280FAD}" dt="2020-11-23T13:10:37.801" v="2651"/>
          <ac:spMkLst>
            <pc:docMk/>
            <pc:sldMk cId="597611853" sldId="370"/>
            <ac:spMk id="12" creationId="{8B604882-A955-412A-8EC7-540AC2821E72}"/>
          </ac:spMkLst>
        </pc:spChg>
        <pc:spChg chg="mod">
          <ac:chgData name="Zenos Zenica" userId="de3ee720dba36952" providerId="Windows Live" clId="Web-{87EC33F8-20F9-4A9B-8B0C-47C86D280FAD}" dt="2020-11-23T13:10:37.816" v="2652"/>
          <ac:spMkLst>
            <pc:docMk/>
            <pc:sldMk cId="597611853" sldId="370"/>
            <ac:spMk id="14" creationId="{CF766CF0-2FF4-49D8-98DD-EA85043FDE7C}"/>
          </ac:spMkLst>
        </pc:spChg>
        <pc:spChg chg="mod">
          <ac:chgData name="Zenos Zenica" userId="de3ee720dba36952" providerId="Windows Live" clId="Web-{87EC33F8-20F9-4A9B-8B0C-47C86D280FAD}" dt="2020-11-23T13:10:37.832" v="2653"/>
          <ac:spMkLst>
            <pc:docMk/>
            <pc:sldMk cId="597611853" sldId="370"/>
            <ac:spMk id="15" creationId="{5FA96652-7A5E-463A-BE1B-D9994DFC1102}"/>
          </ac:spMkLst>
        </pc:spChg>
        <pc:spChg chg="mod">
          <ac:chgData name="Zenos Zenica" userId="de3ee720dba36952" providerId="Windows Live" clId="Web-{87EC33F8-20F9-4A9B-8B0C-47C86D280FAD}" dt="2020-11-23T13:10:37.847" v="2654"/>
          <ac:spMkLst>
            <pc:docMk/>
            <pc:sldMk cId="597611853" sldId="370"/>
            <ac:spMk id="16" creationId="{6905BEC1-FEF8-48BD-8296-726DEE599DC6}"/>
          </ac:spMkLst>
        </pc:spChg>
        <pc:spChg chg="mod">
          <ac:chgData name="Zenos Zenica" userId="de3ee720dba36952" providerId="Windows Live" clId="Web-{87EC33F8-20F9-4A9B-8B0C-47C86D280FAD}" dt="2020-11-23T13:10:37.863" v="2655"/>
          <ac:spMkLst>
            <pc:docMk/>
            <pc:sldMk cId="597611853" sldId="370"/>
            <ac:spMk id="18" creationId="{C5692A4D-3BFF-412B-9503-AC6DDF76180C}"/>
          </ac:spMkLst>
        </pc:spChg>
        <pc:spChg chg="mod">
          <ac:chgData name="Zenos Zenica" userId="de3ee720dba36952" providerId="Windows Live" clId="Web-{87EC33F8-20F9-4A9B-8B0C-47C86D280FAD}" dt="2020-11-23T13:10:37.879" v="2656"/>
          <ac:spMkLst>
            <pc:docMk/>
            <pc:sldMk cId="597611853" sldId="370"/>
            <ac:spMk id="19" creationId="{B19899C5-06B9-4CBE-9D24-D3F69E15DEB6}"/>
          </ac:spMkLst>
        </pc:spChg>
        <pc:spChg chg="mod">
          <ac:chgData name="Zenos Zenica" userId="de3ee720dba36952" providerId="Windows Live" clId="Web-{87EC33F8-20F9-4A9B-8B0C-47C86D280FAD}" dt="2020-11-23T13:10:37.894" v="2657"/>
          <ac:spMkLst>
            <pc:docMk/>
            <pc:sldMk cId="597611853" sldId="370"/>
            <ac:spMk id="20" creationId="{B7B96230-025B-44B6-9924-01D9CECA4A9E}"/>
          </ac:spMkLst>
        </pc:spChg>
        <pc:spChg chg="mod">
          <ac:chgData name="Zenos Zenica" userId="de3ee720dba36952" providerId="Windows Live" clId="Web-{87EC33F8-20F9-4A9B-8B0C-47C86D280FAD}" dt="2020-11-23T13:10:37.926" v="2658"/>
          <ac:spMkLst>
            <pc:docMk/>
            <pc:sldMk cId="597611853" sldId="370"/>
            <ac:spMk id="22" creationId="{F52C07C2-1B2F-477F-B718-B68C436E2159}"/>
          </ac:spMkLst>
        </pc:spChg>
        <pc:spChg chg="mod">
          <ac:chgData name="Zenos Zenica" userId="de3ee720dba36952" providerId="Windows Live" clId="Web-{87EC33F8-20F9-4A9B-8B0C-47C86D280FAD}" dt="2020-11-23T13:10:37.941" v="2659"/>
          <ac:spMkLst>
            <pc:docMk/>
            <pc:sldMk cId="597611853" sldId="370"/>
            <ac:spMk id="23" creationId="{C9DC05DF-D6E1-4098-8DFB-5CD364F544E7}"/>
          </ac:spMkLst>
        </pc:spChg>
        <pc:spChg chg="mod">
          <ac:chgData name="Zenos Zenica" userId="de3ee720dba36952" providerId="Windows Live" clId="Web-{87EC33F8-20F9-4A9B-8B0C-47C86D280FAD}" dt="2020-11-23T13:10:37.957" v="2660"/>
          <ac:spMkLst>
            <pc:docMk/>
            <pc:sldMk cId="597611853" sldId="370"/>
            <ac:spMk id="24" creationId="{F2F78C99-2D40-4E3F-A396-747135948B80}"/>
          </ac:spMkLst>
        </pc:spChg>
        <pc:spChg chg="mod">
          <ac:chgData name="Zenos Zenica" userId="de3ee720dba36952" providerId="Windows Live" clId="Web-{87EC33F8-20F9-4A9B-8B0C-47C86D280FAD}" dt="2020-11-23T13:10:37.972" v="2661"/>
          <ac:spMkLst>
            <pc:docMk/>
            <pc:sldMk cId="597611853" sldId="370"/>
            <ac:spMk id="26" creationId="{F45767FC-CC33-49D3-BDD6-FB58E5021966}"/>
          </ac:spMkLst>
        </pc:spChg>
        <pc:spChg chg="mod">
          <ac:chgData name="Zenos Zenica" userId="de3ee720dba36952" providerId="Windows Live" clId="Web-{87EC33F8-20F9-4A9B-8B0C-47C86D280FAD}" dt="2020-11-23T13:10:38.004" v="2662"/>
          <ac:spMkLst>
            <pc:docMk/>
            <pc:sldMk cId="597611853" sldId="370"/>
            <ac:spMk id="27" creationId="{26CEAE79-A0C9-467A-A6DB-111F7A9A9F99}"/>
          </ac:spMkLst>
        </pc:spChg>
        <pc:spChg chg="mod">
          <ac:chgData name="Zenos Zenica" userId="de3ee720dba36952" providerId="Windows Live" clId="Web-{87EC33F8-20F9-4A9B-8B0C-47C86D280FAD}" dt="2020-11-23T13:10:38.019" v="2663"/>
          <ac:spMkLst>
            <pc:docMk/>
            <pc:sldMk cId="597611853" sldId="370"/>
            <ac:spMk id="28" creationId="{F020CAF4-5FC2-473D-89F4-E34C1E3A81BB}"/>
          </ac:spMkLst>
        </pc:spChg>
        <pc:spChg chg="mod">
          <ac:chgData name="Zenos Zenica" userId="de3ee720dba36952" providerId="Windows Live" clId="Web-{87EC33F8-20F9-4A9B-8B0C-47C86D280FAD}" dt="2020-11-23T13:10:38.051" v="2664"/>
          <ac:spMkLst>
            <pc:docMk/>
            <pc:sldMk cId="597611853" sldId="370"/>
            <ac:spMk id="30" creationId="{22CE87CE-C6C2-466C-B22F-3A3CBC478394}"/>
          </ac:spMkLst>
        </pc:spChg>
        <pc:spChg chg="mod">
          <ac:chgData name="Zenos Zenica" userId="de3ee720dba36952" providerId="Windows Live" clId="Web-{87EC33F8-20F9-4A9B-8B0C-47C86D280FAD}" dt="2020-11-23T13:10:38.066" v="2665"/>
          <ac:spMkLst>
            <pc:docMk/>
            <pc:sldMk cId="597611853" sldId="370"/>
            <ac:spMk id="31" creationId="{83EAEA51-F41E-4FA2-80C2-12121D110993}"/>
          </ac:spMkLst>
        </pc:spChg>
        <pc:spChg chg="mod">
          <ac:chgData name="Zenos Zenica" userId="de3ee720dba36952" providerId="Windows Live" clId="Web-{87EC33F8-20F9-4A9B-8B0C-47C86D280FAD}" dt="2020-11-23T13:10:38.082" v="2666"/>
          <ac:spMkLst>
            <pc:docMk/>
            <pc:sldMk cId="597611853" sldId="370"/>
            <ac:spMk id="32" creationId="{E910D177-8B88-4112-B827-2DDDC3B0101B}"/>
          </ac:spMkLst>
        </pc:spChg>
        <pc:spChg chg="mod">
          <ac:chgData name="Zenos Zenica" userId="de3ee720dba36952" providerId="Windows Live" clId="Web-{87EC33F8-20F9-4A9B-8B0C-47C86D280FAD}" dt="2020-11-23T13:11:24.083" v="2692" actId="20577"/>
          <ac:spMkLst>
            <pc:docMk/>
            <pc:sldMk cId="597611853" sldId="370"/>
            <ac:spMk id="33" creationId="{C400918B-741F-4E4D-AF98-D289B749D19C}"/>
          </ac:spMkLst>
        </pc:spChg>
        <pc:spChg chg="mod">
          <ac:chgData name="Zenos Zenica" userId="de3ee720dba36952" providerId="Windows Live" clId="Web-{87EC33F8-20F9-4A9B-8B0C-47C86D280FAD}" dt="2020-11-23T13:11:31.958" v="2698" actId="20577"/>
          <ac:spMkLst>
            <pc:docMk/>
            <pc:sldMk cId="597611853" sldId="370"/>
            <ac:spMk id="34" creationId="{C23895D4-E610-4EDC-BEF4-38F047F041C8}"/>
          </ac:spMkLst>
        </pc:spChg>
        <pc:spChg chg="mod">
          <ac:chgData name="Zenos Zenica" userId="de3ee720dba36952" providerId="Windows Live" clId="Web-{87EC33F8-20F9-4A9B-8B0C-47C86D280FAD}" dt="2020-11-23T13:11:15.567" v="2690" actId="20577"/>
          <ac:spMkLst>
            <pc:docMk/>
            <pc:sldMk cId="597611853" sldId="370"/>
            <ac:spMk id="35" creationId="{7497F00E-0871-438A-B3B5-3E9D57FF11EA}"/>
          </ac:spMkLst>
        </pc:spChg>
        <pc:spChg chg="mod">
          <ac:chgData name="Zenos Zenica" userId="de3ee720dba36952" providerId="Windows Live" clId="Web-{87EC33F8-20F9-4A9B-8B0C-47C86D280FAD}" dt="2020-11-23T13:10:38.129" v="2669"/>
          <ac:spMkLst>
            <pc:docMk/>
            <pc:sldMk cId="597611853" sldId="370"/>
            <ac:spMk id="36" creationId="{F6D71507-171A-4D1E-B844-3E727063B2E3}"/>
          </ac:spMkLst>
        </pc:spChg>
        <pc:spChg chg="mod">
          <ac:chgData name="Zenos Zenica" userId="de3ee720dba36952" providerId="Windows Live" clId="Web-{87EC33F8-20F9-4A9B-8B0C-47C86D280FAD}" dt="2020-11-23T13:10:38.144" v="2670"/>
          <ac:spMkLst>
            <pc:docMk/>
            <pc:sldMk cId="597611853" sldId="370"/>
            <ac:spMk id="37" creationId="{426E6CAF-85CE-485D-AE1A-A2B53026D9E8}"/>
          </ac:spMkLst>
        </pc:spChg>
        <pc:spChg chg="mod">
          <ac:chgData name="Zenos Zenica" userId="de3ee720dba36952" providerId="Windows Live" clId="Web-{87EC33F8-20F9-4A9B-8B0C-47C86D280FAD}" dt="2020-11-23T13:10:38.160" v="2671"/>
          <ac:spMkLst>
            <pc:docMk/>
            <pc:sldMk cId="597611853" sldId="370"/>
            <ac:spMk id="38" creationId="{0302F883-F10D-4957-93EC-E7D20ED4C862}"/>
          </ac:spMkLst>
        </pc:spChg>
        <pc:spChg chg="mod">
          <ac:chgData name="Zenos Zenica" userId="de3ee720dba36952" providerId="Windows Live" clId="Web-{87EC33F8-20F9-4A9B-8B0C-47C86D280FAD}" dt="2020-11-23T13:10:38.176" v="2672"/>
          <ac:spMkLst>
            <pc:docMk/>
            <pc:sldMk cId="597611853" sldId="370"/>
            <ac:spMk id="39" creationId="{BDD0B9A8-F9C3-4956-B6E0-6FC2D2AA3861}"/>
          </ac:spMkLst>
        </pc:spChg>
        <pc:spChg chg="mod">
          <ac:chgData name="Zenos Zenica" userId="de3ee720dba36952" providerId="Windows Live" clId="Web-{87EC33F8-20F9-4A9B-8B0C-47C86D280FAD}" dt="2020-11-23T13:10:38.191" v="2673"/>
          <ac:spMkLst>
            <pc:docMk/>
            <pc:sldMk cId="597611853" sldId="370"/>
            <ac:spMk id="40" creationId="{E58CFFFE-32DB-49F7-B01D-8C1C972804E2}"/>
          </ac:spMkLst>
        </pc:spChg>
        <pc:spChg chg="mod">
          <ac:chgData name="Zenos Zenica" userId="de3ee720dba36952" providerId="Windows Live" clId="Web-{87EC33F8-20F9-4A9B-8B0C-47C86D280FAD}" dt="2020-11-23T13:10:38.207" v="2674"/>
          <ac:spMkLst>
            <pc:docMk/>
            <pc:sldMk cId="597611853" sldId="370"/>
            <ac:spMk id="41" creationId="{F8BF2AEE-A0E5-4AC9-BD53-6037F617EDA4}"/>
          </ac:spMkLst>
        </pc:spChg>
        <pc:spChg chg="mod">
          <ac:chgData name="Zenos Zenica" userId="de3ee720dba36952" providerId="Windows Live" clId="Web-{87EC33F8-20F9-4A9B-8B0C-47C86D280FAD}" dt="2020-11-23T13:10:38.222" v="2675"/>
          <ac:spMkLst>
            <pc:docMk/>
            <pc:sldMk cId="597611853" sldId="370"/>
            <ac:spMk id="42" creationId="{2E950739-3027-47CD-885A-EF7DCDC1DF69}"/>
          </ac:spMkLst>
        </pc:spChg>
        <pc:spChg chg="mod">
          <ac:chgData name="Zenos Zenica" userId="de3ee720dba36952" providerId="Windows Live" clId="Web-{87EC33F8-20F9-4A9B-8B0C-47C86D280FAD}" dt="2020-11-23T13:10:38.238" v="2676"/>
          <ac:spMkLst>
            <pc:docMk/>
            <pc:sldMk cId="597611853" sldId="370"/>
            <ac:spMk id="43" creationId="{71D886A1-8395-4ADD-B181-D276A57BD818}"/>
          </ac:spMkLst>
        </pc:spChg>
        <pc:spChg chg="mod">
          <ac:chgData name="Zenos Zenica" userId="de3ee720dba36952" providerId="Windows Live" clId="Web-{87EC33F8-20F9-4A9B-8B0C-47C86D280FAD}" dt="2020-11-23T13:10:38.254" v="2677"/>
          <ac:spMkLst>
            <pc:docMk/>
            <pc:sldMk cId="597611853" sldId="370"/>
            <ac:spMk id="44" creationId="{E85F7125-8597-4088-A917-3BD02B84DB18}"/>
          </ac:spMkLst>
        </pc:spChg>
        <pc:spChg chg="mod">
          <ac:chgData name="Zenos Zenica" userId="de3ee720dba36952" providerId="Windows Live" clId="Web-{87EC33F8-20F9-4A9B-8B0C-47C86D280FAD}" dt="2020-11-23T13:10:38.269" v="2678"/>
          <ac:spMkLst>
            <pc:docMk/>
            <pc:sldMk cId="597611853" sldId="370"/>
            <ac:spMk id="45" creationId="{1C9D22B9-AADE-412C-968A-D8957EA0B7EB}"/>
          </ac:spMkLst>
        </pc:spChg>
        <pc:spChg chg="mod">
          <ac:chgData name="Zenos Zenica" userId="de3ee720dba36952" providerId="Windows Live" clId="Web-{87EC33F8-20F9-4A9B-8B0C-47C86D280FAD}" dt="2020-11-23T13:10:38.285" v="2679"/>
          <ac:spMkLst>
            <pc:docMk/>
            <pc:sldMk cId="597611853" sldId="370"/>
            <ac:spMk id="46" creationId="{5173466E-340F-42C9-BA5B-678CE97BB769}"/>
          </ac:spMkLst>
        </pc:spChg>
      </pc:sldChg>
      <pc:sldChg chg="modSp add">
        <pc:chgData name="Zenos Zenica" userId="de3ee720dba36952" providerId="Windows Live" clId="Web-{87EC33F8-20F9-4A9B-8B0C-47C86D280FAD}" dt="2020-11-23T13:12:10.694" v="2709"/>
        <pc:sldMkLst>
          <pc:docMk/>
          <pc:sldMk cId="2042271198" sldId="371"/>
        </pc:sldMkLst>
        <pc:spChg chg="mod">
          <ac:chgData name="Zenos Zenica" userId="de3ee720dba36952" providerId="Windows Live" clId="Web-{87EC33F8-20F9-4A9B-8B0C-47C86D280FAD}" dt="2020-11-23T13:12:05.475" v="2706" actId="1076"/>
          <ac:spMkLst>
            <pc:docMk/>
            <pc:sldMk cId="2042271198" sldId="371"/>
            <ac:spMk id="4" creationId="{B8CB9108-1583-4A1C-846B-3263D00D0833}"/>
          </ac:spMkLst>
        </pc:spChg>
        <pc:spChg chg="mod">
          <ac:chgData name="Zenos Zenica" userId="de3ee720dba36952" providerId="Windows Live" clId="Web-{87EC33F8-20F9-4A9B-8B0C-47C86D280FAD}" dt="2020-11-23T13:12:10.647" v="2707"/>
          <ac:spMkLst>
            <pc:docMk/>
            <pc:sldMk cId="2042271198" sldId="371"/>
            <ac:spMk id="51" creationId="{97FA5EE1-B019-4045-B36A-9F35DBE1C8A9}"/>
          </ac:spMkLst>
        </pc:spChg>
        <pc:spChg chg="mod">
          <ac:chgData name="Zenos Zenica" userId="de3ee720dba36952" providerId="Windows Live" clId="Web-{87EC33F8-20F9-4A9B-8B0C-47C86D280FAD}" dt="2020-11-23T13:12:10.678" v="2708"/>
          <ac:spMkLst>
            <pc:docMk/>
            <pc:sldMk cId="2042271198" sldId="371"/>
            <ac:spMk id="56" creationId="{70E6B2B6-5438-4DBC-A401-CCD0C2530C37}"/>
          </ac:spMkLst>
        </pc:spChg>
        <pc:spChg chg="mod">
          <ac:chgData name="Zenos Zenica" userId="de3ee720dba36952" providerId="Windows Live" clId="Web-{87EC33F8-20F9-4A9B-8B0C-47C86D280FAD}" dt="2020-11-23T13:12:10.694" v="2709"/>
          <ac:spMkLst>
            <pc:docMk/>
            <pc:sldMk cId="2042271198" sldId="371"/>
            <ac:spMk id="61" creationId="{187EA8A0-6494-4398-A159-92080FD70F42}"/>
          </ac:spMkLst>
        </pc:spChg>
      </pc:sldChg>
      <pc:sldChg chg="modSp add">
        <pc:chgData name="Zenos Zenica" userId="de3ee720dba36952" providerId="Windows Live" clId="Web-{87EC33F8-20F9-4A9B-8B0C-47C86D280FAD}" dt="2020-11-23T13:12:52.085" v="2723"/>
        <pc:sldMkLst>
          <pc:docMk/>
          <pc:sldMk cId="2906339350" sldId="372"/>
        </pc:sldMkLst>
        <pc:spChg chg="mod">
          <ac:chgData name="Zenos Zenica" userId="de3ee720dba36952" providerId="Windows Live" clId="Web-{87EC33F8-20F9-4A9B-8B0C-47C86D280FAD}" dt="2020-11-23T13:12:42.773" v="2720" actId="1076"/>
          <ac:spMkLst>
            <pc:docMk/>
            <pc:sldMk cId="2906339350" sldId="372"/>
            <ac:spMk id="4" creationId="{B8CB9108-1583-4A1C-846B-3263D00D0833}"/>
          </ac:spMkLst>
        </pc:spChg>
        <pc:spChg chg="mod">
          <ac:chgData name="Zenos Zenica" userId="de3ee720dba36952" providerId="Windows Live" clId="Web-{87EC33F8-20F9-4A9B-8B0C-47C86D280FAD}" dt="2020-11-23T13:12:52.054" v="2721"/>
          <ac:spMkLst>
            <pc:docMk/>
            <pc:sldMk cId="2906339350" sldId="372"/>
            <ac:spMk id="51" creationId="{97FA5EE1-B019-4045-B36A-9F35DBE1C8A9}"/>
          </ac:spMkLst>
        </pc:spChg>
        <pc:spChg chg="mod">
          <ac:chgData name="Zenos Zenica" userId="de3ee720dba36952" providerId="Windows Live" clId="Web-{87EC33F8-20F9-4A9B-8B0C-47C86D280FAD}" dt="2020-11-23T13:12:52.070" v="2722"/>
          <ac:spMkLst>
            <pc:docMk/>
            <pc:sldMk cId="2906339350" sldId="372"/>
            <ac:spMk id="56" creationId="{70E6B2B6-5438-4DBC-A401-CCD0C2530C37}"/>
          </ac:spMkLst>
        </pc:spChg>
        <pc:spChg chg="mod">
          <ac:chgData name="Zenos Zenica" userId="de3ee720dba36952" providerId="Windows Live" clId="Web-{87EC33F8-20F9-4A9B-8B0C-47C86D280FAD}" dt="2020-11-23T13:12:52.085" v="2723"/>
          <ac:spMkLst>
            <pc:docMk/>
            <pc:sldMk cId="2906339350" sldId="372"/>
            <ac:spMk id="61" creationId="{187EA8A0-6494-4398-A159-92080FD70F42}"/>
          </ac:spMkLst>
        </pc:spChg>
      </pc:sldChg>
      <pc:sldChg chg="modSp add">
        <pc:chgData name="Zenos Zenica" userId="de3ee720dba36952" providerId="Windows Live" clId="Web-{87EC33F8-20F9-4A9B-8B0C-47C86D280FAD}" dt="2020-11-23T13:13:53.228" v="2774" actId="1076"/>
        <pc:sldMkLst>
          <pc:docMk/>
          <pc:sldMk cId="3154047486" sldId="373"/>
        </pc:sldMkLst>
        <pc:spChg chg="mod">
          <ac:chgData name="Zenos Zenica" userId="de3ee720dba36952" providerId="Windows Live" clId="Web-{87EC33F8-20F9-4A9B-8B0C-47C86D280FAD}" dt="2020-11-23T13:13:53.228" v="2774" actId="1076"/>
          <ac:spMkLst>
            <pc:docMk/>
            <pc:sldMk cId="3154047486" sldId="373"/>
            <ac:spMk id="4" creationId="{B8CB9108-1583-4A1C-846B-3263D00D0833}"/>
          </ac:spMkLst>
        </pc:spChg>
        <pc:spChg chg="mod">
          <ac:chgData name="Zenos Zenica" userId="de3ee720dba36952" providerId="Windows Live" clId="Web-{87EC33F8-20F9-4A9B-8B0C-47C86D280FAD}" dt="2020-11-23T13:13:02.133" v="2724"/>
          <ac:spMkLst>
            <pc:docMk/>
            <pc:sldMk cId="3154047486" sldId="373"/>
            <ac:spMk id="25" creationId="{FA34A4D5-27F8-4689-BED6-338D4CFCAABF}"/>
          </ac:spMkLst>
        </pc:spChg>
        <pc:spChg chg="mod">
          <ac:chgData name="Zenos Zenica" userId="de3ee720dba36952" providerId="Windows Live" clId="Web-{87EC33F8-20F9-4A9B-8B0C-47C86D280FAD}" dt="2020-11-23T13:13:02.148" v="2725"/>
          <ac:spMkLst>
            <pc:docMk/>
            <pc:sldMk cId="3154047486" sldId="373"/>
            <ac:spMk id="26" creationId="{BD09A097-493F-4834-A271-3CAD8A4A8FD5}"/>
          </ac:spMkLst>
        </pc:spChg>
        <pc:spChg chg="mod">
          <ac:chgData name="Zenos Zenica" userId="de3ee720dba36952" providerId="Windows Live" clId="Web-{87EC33F8-20F9-4A9B-8B0C-47C86D280FAD}" dt="2020-11-23T13:13:02.164" v="2726"/>
          <ac:spMkLst>
            <pc:docMk/>
            <pc:sldMk cId="3154047486" sldId="373"/>
            <ac:spMk id="27" creationId="{98CEC835-6B66-491C-8262-AC6247DBD396}"/>
          </ac:spMkLst>
        </pc:spChg>
        <pc:spChg chg="mod">
          <ac:chgData name="Zenos Zenica" userId="de3ee720dba36952" providerId="Windows Live" clId="Web-{87EC33F8-20F9-4A9B-8B0C-47C86D280FAD}" dt="2020-11-23T13:13:02.164" v="2727"/>
          <ac:spMkLst>
            <pc:docMk/>
            <pc:sldMk cId="3154047486" sldId="373"/>
            <ac:spMk id="28" creationId="{1F42B3E1-4495-4F10-B16B-5655469C7646}"/>
          </ac:spMkLst>
        </pc:spChg>
        <pc:spChg chg="mod">
          <ac:chgData name="Zenos Zenica" userId="de3ee720dba36952" providerId="Windows Live" clId="Web-{87EC33F8-20F9-4A9B-8B0C-47C86D280FAD}" dt="2020-11-23T13:13:02.180" v="2728"/>
          <ac:spMkLst>
            <pc:docMk/>
            <pc:sldMk cId="3154047486" sldId="373"/>
            <ac:spMk id="39" creationId="{A25811A4-A86E-4DA5-B8FA-7CEB629853D0}"/>
          </ac:spMkLst>
        </pc:spChg>
        <pc:spChg chg="mod">
          <ac:chgData name="Zenos Zenica" userId="de3ee720dba36952" providerId="Windows Live" clId="Web-{87EC33F8-20F9-4A9B-8B0C-47C86D280FAD}" dt="2020-11-23T13:13:02.195" v="2729"/>
          <ac:spMkLst>
            <pc:docMk/>
            <pc:sldMk cId="3154047486" sldId="373"/>
            <ac:spMk id="40" creationId="{00EE5008-58F5-498F-AD45-1A7213F639A5}"/>
          </ac:spMkLst>
        </pc:spChg>
        <pc:spChg chg="mod">
          <ac:chgData name="Zenos Zenica" userId="de3ee720dba36952" providerId="Windows Live" clId="Web-{87EC33F8-20F9-4A9B-8B0C-47C86D280FAD}" dt="2020-11-23T13:13:02.211" v="2730"/>
          <ac:spMkLst>
            <pc:docMk/>
            <pc:sldMk cId="3154047486" sldId="373"/>
            <ac:spMk id="41" creationId="{017121F7-77FF-4C24-B223-78F74D070045}"/>
          </ac:spMkLst>
        </pc:spChg>
        <pc:spChg chg="mod">
          <ac:chgData name="Zenos Zenica" userId="de3ee720dba36952" providerId="Windows Live" clId="Web-{87EC33F8-20F9-4A9B-8B0C-47C86D280FAD}" dt="2020-11-23T13:13:02.226" v="2731"/>
          <ac:spMkLst>
            <pc:docMk/>
            <pc:sldMk cId="3154047486" sldId="373"/>
            <ac:spMk id="42" creationId="{4442B116-F7AA-44B5-9176-FBC16511D863}"/>
          </ac:spMkLst>
        </pc:spChg>
        <pc:spChg chg="mod">
          <ac:chgData name="Zenos Zenica" userId="de3ee720dba36952" providerId="Windows Live" clId="Web-{87EC33F8-20F9-4A9B-8B0C-47C86D280FAD}" dt="2020-11-23T13:13:02.242" v="2732"/>
          <ac:spMkLst>
            <pc:docMk/>
            <pc:sldMk cId="3154047486" sldId="373"/>
            <ac:spMk id="50" creationId="{0D0F3216-0449-44E4-B632-41B5A17F32CB}"/>
          </ac:spMkLst>
        </pc:spChg>
        <pc:spChg chg="mod">
          <ac:chgData name="Zenos Zenica" userId="de3ee720dba36952" providerId="Windows Live" clId="Web-{87EC33F8-20F9-4A9B-8B0C-47C86D280FAD}" dt="2020-11-23T13:13:02.258" v="2733"/>
          <ac:spMkLst>
            <pc:docMk/>
            <pc:sldMk cId="3154047486" sldId="373"/>
            <ac:spMk id="52" creationId="{4A5B6A49-D5D0-4ECD-ACF3-D7150FC68F70}"/>
          </ac:spMkLst>
        </pc:spChg>
        <pc:spChg chg="mod">
          <ac:chgData name="Zenos Zenica" userId="de3ee720dba36952" providerId="Windows Live" clId="Web-{87EC33F8-20F9-4A9B-8B0C-47C86D280FAD}" dt="2020-11-23T13:13:02.258" v="2734"/>
          <ac:spMkLst>
            <pc:docMk/>
            <pc:sldMk cId="3154047486" sldId="373"/>
            <ac:spMk id="57" creationId="{77ADB0A6-4C6F-4480-8595-4E8064A09E93}"/>
          </ac:spMkLst>
        </pc:spChg>
        <pc:spChg chg="mod">
          <ac:chgData name="Zenos Zenica" userId="de3ee720dba36952" providerId="Windows Live" clId="Web-{87EC33F8-20F9-4A9B-8B0C-47C86D280FAD}" dt="2020-11-23T13:13:02.273" v="2735"/>
          <ac:spMkLst>
            <pc:docMk/>
            <pc:sldMk cId="3154047486" sldId="373"/>
            <ac:spMk id="58" creationId="{618D181C-FE7F-43B6-81C6-916FCC29713A}"/>
          </ac:spMkLst>
        </pc:spChg>
        <pc:spChg chg="mod">
          <ac:chgData name="Zenos Zenica" userId="de3ee720dba36952" providerId="Windows Live" clId="Web-{87EC33F8-20F9-4A9B-8B0C-47C86D280FAD}" dt="2020-11-23T13:13:02.305" v="2736"/>
          <ac:spMkLst>
            <pc:docMk/>
            <pc:sldMk cId="3154047486" sldId="373"/>
            <ac:spMk id="63" creationId="{5D648690-D0FB-44EF-BB6A-CE7648344958}"/>
          </ac:spMkLst>
        </pc:spChg>
        <pc:spChg chg="mod">
          <ac:chgData name="Zenos Zenica" userId="de3ee720dba36952" providerId="Windows Live" clId="Web-{87EC33F8-20F9-4A9B-8B0C-47C86D280FAD}" dt="2020-11-23T13:13:02.320" v="2737"/>
          <ac:spMkLst>
            <pc:docMk/>
            <pc:sldMk cId="3154047486" sldId="373"/>
            <ac:spMk id="64" creationId="{79D48CF6-2F22-43B6-AAC4-C8F87A981B62}"/>
          </ac:spMkLst>
        </pc:spChg>
        <pc:spChg chg="mod">
          <ac:chgData name="Zenos Zenica" userId="de3ee720dba36952" providerId="Windows Live" clId="Web-{87EC33F8-20F9-4A9B-8B0C-47C86D280FAD}" dt="2020-11-23T13:13:02.336" v="2738"/>
          <ac:spMkLst>
            <pc:docMk/>
            <pc:sldMk cId="3154047486" sldId="373"/>
            <ac:spMk id="65" creationId="{1C717BD2-3743-4791-92BC-E69DC90C0F33}"/>
          </ac:spMkLst>
        </pc:spChg>
        <pc:spChg chg="mod">
          <ac:chgData name="Zenos Zenica" userId="de3ee720dba36952" providerId="Windows Live" clId="Web-{87EC33F8-20F9-4A9B-8B0C-47C86D280FAD}" dt="2020-11-23T13:13:02.351" v="2739"/>
          <ac:spMkLst>
            <pc:docMk/>
            <pc:sldMk cId="3154047486" sldId="373"/>
            <ac:spMk id="67" creationId="{F6E0C71B-5C8F-4165-AF9F-B40E369D88CB}"/>
          </ac:spMkLst>
        </pc:spChg>
        <pc:spChg chg="mod">
          <ac:chgData name="Zenos Zenica" userId="de3ee720dba36952" providerId="Windows Live" clId="Web-{87EC33F8-20F9-4A9B-8B0C-47C86D280FAD}" dt="2020-11-23T13:13:02.367" v="2740"/>
          <ac:spMkLst>
            <pc:docMk/>
            <pc:sldMk cId="3154047486" sldId="373"/>
            <ac:spMk id="68" creationId="{7A4AC1AF-C3F5-4290-A0BC-F8B1EB71F42B}"/>
          </ac:spMkLst>
        </pc:spChg>
        <pc:spChg chg="mod">
          <ac:chgData name="Zenos Zenica" userId="de3ee720dba36952" providerId="Windows Live" clId="Web-{87EC33F8-20F9-4A9B-8B0C-47C86D280FAD}" dt="2020-11-23T13:13:02.383" v="2741"/>
          <ac:spMkLst>
            <pc:docMk/>
            <pc:sldMk cId="3154047486" sldId="373"/>
            <ac:spMk id="69" creationId="{25F7B5A6-1F32-4D5D-9383-693043C3BA33}"/>
          </ac:spMkLst>
        </pc:spChg>
        <pc:spChg chg="mod">
          <ac:chgData name="Zenos Zenica" userId="de3ee720dba36952" providerId="Windows Live" clId="Web-{87EC33F8-20F9-4A9B-8B0C-47C86D280FAD}" dt="2020-11-23T13:13:02.398" v="2742"/>
          <ac:spMkLst>
            <pc:docMk/>
            <pc:sldMk cId="3154047486" sldId="373"/>
            <ac:spMk id="80" creationId="{DE099DC8-FA53-4D75-856F-D2F0968B2C30}"/>
          </ac:spMkLst>
        </pc:spChg>
        <pc:spChg chg="mod">
          <ac:chgData name="Zenos Zenica" userId="de3ee720dba36952" providerId="Windows Live" clId="Web-{87EC33F8-20F9-4A9B-8B0C-47C86D280FAD}" dt="2020-11-23T13:13:02.430" v="2743"/>
          <ac:spMkLst>
            <pc:docMk/>
            <pc:sldMk cId="3154047486" sldId="373"/>
            <ac:spMk id="81" creationId="{965A5AAE-55D0-40D3-9991-844120ED351A}"/>
          </ac:spMkLst>
        </pc:spChg>
        <pc:spChg chg="mod">
          <ac:chgData name="Zenos Zenica" userId="de3ee720dba36952" providerId="Windows Live" clId="Web-{87EC33F8-20F9-4A9B-8B0C-47C86D280FAD}" dt="2020-11-23T13:13:02.445" v="2744"/>
          <ac:spMkLst>
            <pc:docMk/>
            <pc:sldMk cId="3154047486" sldId="373"/>
            <ac:spMk id="82" creationId="{0E65D768-FADC-42A9-89BD-E513E4D45279}"/>
          </ac:spMkLst>
        </pc:spChg>
        <pc:spChg chg="mod">
          <ac:chgData name="Zenos Zenica" userId="de3ee720dba36952" providerId="Windows Live" clId="Web-{87EC33F8-20F9-4A9B-8B0C-47C86D280FAD}" dt="2020-11-23T13:13:02.461" v="2745"/>
          <ac:spMkLst>
            <pc:docMk/>
            <pc:sldMk cId="3154047486" sldId="373"/>
            <ac:spMk id="84" creationId="{53FA0203-D298-4DBB-BD18-47E5D9BFCD76}"/>
          </ac:spMkLst>
        </pc:spChg>
        <pc:spChg chg="mod">
          <ac:chgData name="Zenos Zenica" userId="de3ee720dba36952" providerId="Windows Live" clId="Web-{87EC33F8-20F9-4A9B-8B0C-47C86D280FAD}" dt="2020-11-23T13:13:02.476" v="2746"/>
          <ac:spMkLst>
            <pc:docMk/>
            <pc:sldMk cId="3154047486" sldId="373"/>
            <ac:spMk id="85" creationId="{2164AFE2-FD3B-46AF-8017-8C4431EA79F2}"/>
          </ac:spMkLst>
        </pc:spChg>
        <pc:spChg chg="mod">
          <ac:chgData name="Zenos Zenica" userId="de3ee720dba36952" providerId="Windows Live" clId="Web-{87EC33F8-20F9-4A9B-8B0C-47C86D280FAD}" dt="2020-11-23T13:13:02.492" v="2747"/>
          <ac:spMkLst>
            <pc:docMk/>
            <pc:sldMk cId="3154047486" sldId="373"/>
            <ac:spMk id="86" creationId="{F89EE0D9-DF53-4C52-8CA7-E85103DCB09E}"/>
          </ac:spMkLst>
        </pc:spChg>
        <pc:spChg chg="mod">
          <ac:chgData name="Zenos Zenica" userId="de3ee720dba36952" providerId="Windows Live" clId="Web-{87EC33F8-20F9-4A9B-8B0C-47C86D280FAD}" dt="2020-11-23T13:13:02.523" v="2748"/>
          <ac:spMkLst>
            <pc:docMk/>
            <pc:sldMk cId="3154047486" sldId="373"/>
            <ac:spMk id="88" creationId="{1C857129-DCE8-42F2-A01A-5AE6C426E2A0}"/>
          </ac:spMkLst>
        </pc:spChg>
        <pc:spChg chg="mod">
          <ac:chgData name="Zenos Zenica" userId="de3ee720dba36952" providerId="Windows Live" clId="Web-{87EC33F8-20F9-4A9B-8B0C-47C86D280FAD}" dt="2020-11-23T13:13:02.539" v="2749"/>
          <ac:spMkLst>
            <pc:docMk/>
            <pc:sldMk cId="3154047486" sldId="373"/>
            <ac:spMk id="89" creationId="{54B6C3CD-228A-4440-86E3-F06ADD6E5A14}"/>
          </ac:spMkLst>
        </pc:spChg>
        <pc:spChg chg="mod">
          <ac:chgData name="Zenos Zenica" userId="de3ee720dba36952" providerId="Windows Live" clId="Web-{87EC33F8-20F9-4A9B-8B0C-47C86D280FAD}" dt="2020-11-23T13:13:02.555" v="2750"/>
          <ac:spMkLst>
            <pc:docMk/>
            <pc:sldMk cId="3154047486" sldId="373"/>
            <ac:spMk id="90" creationId="{1F0865C4-D9CD-4B00-8DE5-2EE8EFB93EAC}"/>
          </ac:spMkLst>
        </pc:spChg>
        <pc:spChg chg="mod">
          <ac:chgData name="Zenos Zenica" userId="de3ee720dba36952" providerId="Windows Live" clId="Web-{87EC33F8-20F9-4A9B-8B0C-47C86D280FAD}" dt="2020-11-23T13:13:02.570" v="2751"/>
          <ac:spMkLst>
            <pc:docMk/>
            <pc:sldMk cId="3154047486" sldId="373"/>
            <ac:spMk id="92" creationId="{1D994512-8139-44F5-80DB-168D27E18A2E}"/>
          </ac:spMkLst>
        </pc:spChg>
        <pc:spChg chg="mod">
          <ac:chgData name="Zenos Zenica" userId="de3ee720dba36952" providerId="Windows Live" clId="Web-{87EC33F8-20F9-4A9B-8B0C-47C86D280FAD}" dt="2020-11-23T13:13:02.586" v="2752"/>
          <ac:spMkLst>
            <pc:docMk/>
            <pc:sldMk cId="3154047486" sldId="373"/>
            <ac:spMk id="93" creationId="{BAB17C48-9126-442B-A621-948CCC4B5FB8}"/>
          </ac:spMkLst>
        </pc:spChg>
        <pc:spChg chg="mod">
          <ac:chgData name="Zenos Zenica" userId="de3ee720dba36952" providerId="Windows Live" clId="Web-{87EC33F8-20F9-4A9B-8B0C-47C86D280FAD}" dt="2020-11-23T13:13:02.601" v="2753"/>
          <ac:spMkLst>
            <pc:docMk/>
            <pc:sldMk cId="3154047486" sldId="373"/>
            <ac:spMk id="94" creationId="{458B5F82-9E77-4428-A62D-4313C6DB345D}"/>
          </ac:spMkLst>
        </pc:spChg>
        <pc:spChg chg="mod">
          <ac:chgData name="Zenos Zenica" userId="de3ee720dba36952" providerId="Windows Live" clId="Web-{87EC33F8-20F9-4A9B-8B0C-47C86D280FAD}" dt="2020-11-23T13:13:02.617" v="2754"/>
          <ac:spMkLst>
            <pc:docMk/>
            <pc:sldMk cId="3154047486" sldId="373"/>
            <ac:spMk id="95" creationId="{4FFFFDF2-0C0F-4D6A-8D06-65F670FE730A}"/>
          </ac:spMkLst>
        </pc:spChg>
        <pc:spChg chg="mod">
          <ac:chgData name="Zenos Zenica" userId="de3ee720dba36952" providerId="Windows Live" clId="Web-{87EC33F8-20F9-4A9B-8B0C-47C86D280FAD}" dt="2020-11-23T13:13:02.633" v="2755"/>
          <ac:spMkLst>
            <pc:docMk/>
            <pc:sldMk cId="3154047486" sldId="373"/>
            <ac:spMk id="96" creationId="{37E0DD36-F605-4F6F-AB1E-DD4A1F1C9BFB}"/>
          </ac:spMkLst>
        </pc:spChg>
        <pc:spChg chg="mod">
          <ac:chgData name="Zenos Zenica" userId="de3ee720dba36952" providerId="Windows Live" clId="Web-{87EC33F8-20F9-4A9B-8B0C-47C86D280FAD}" dt="2020-11-23T13:13:02.648" v="2756"/>
          <ac:spMkLst>
            <pc:docMk/>
            <pc:sldMk cId="3154047486" sldId="373"/>
            <ac:spMk id="98" creationId="{76B9B93E-F138-4413-B98E-E7899E00C12E}"/>
          </ac:spMkLst>
        </pc:spChg>
        <pc:spChg chg="mod">
          <ac:chgData name="Zenos Zenica" userId="de3ee720dba36952" providerId="Windows Live" clId="Web-{87EC33F8-20F9-4A9B-8B0C-47C86D280FAD}" dt="2020-11-23T13:13:02.664" v="2757"/>
          <ac:spMkLst>
            <pc:docMk/>
            <pc:sldMk cId="3154047486" sldId="373"/>
            <ac:spMk id="99" creationId="{AEBD3F78-9B5F-4400-BE70-5DBF9A908B44}"/>
          </ac:spMkLst>
        </pc:spChg>
        <pc:spChg chg="mod">
          <ac:chgData name="Zenos Zenica" userId="de3ee720dba36952" providerId="Windows Live" clId="Web-{87EC33F8-20F9-4A9B-8B0C-47C86D280FAD}" dt="2020-11-23T13:13:02.695" v="2758"/>
          <ac:spMkLst>
            <pc:docMk/>
            <pc:sldMk cId="3154047486" sldId="373"/>
            <ac:spMk id="100" creationId="{D5E127AC-90E5-4AAB-ABB6-9CC6A6033BEC}"/>
          </ac:spMkLst>
        </pc:spChg>
      </pc:sldChg>
      <pc:sldChg chg="modSp add">
        <pc:chgData name="Zenos Zenica" userId="de3ee720dba36952" providerId="Windows Live" clId="Web-{87EC33F8-20F9-4A9B-8B0C-47C86D280FAD}" dt="2020-11-23T13:14:58.636" v="2796" actId="20577"/>
        <pc:sldMkLst>
          <pc:docMk/>
          <pc:sldMk cId="1625430609" sldId="374"/>
        </pc:sldMkLst>
        <pc:spChg chg="mod">
          <ac:chgData name="Zenos Zenica" userId="de3ee720dba36952" providerId="Windows Live" clId="Web-{87EC33F8-20F9-4A9B-8B0C-47C86D280FAD}" dt="2020-11-23T13:14:58.636" v="2796" actId="20577"/>
          <ac:spMkLst>
            <pc:docMk/>
            <pc:sldMk cId="1625430609" sldId="374"/>
            <ac:spMk id="4" creationId="{B8CB9108-1583-4A1C-846B-3263D00D0833}"/>
          </ac:spMkLst>
        </pc:spChg>
        <pc:spChg chg="mod">
          <ac:chgData name="Zenos Zenica" userId="de3ee720dba36952" providerId="Windows Live" clId="Web-{87EC33F8-20F9-4A9B-8B0C-47C86D280FAD}" dt="2020-11-23T13:14:14.713" v="2775"/>
          <ac:spMkLst>
            <pc:docMk/>
            <pc:sldMk cId="1625430609" sldId="374"/>
            <ac:spMk id="25" creationId="{FA34A4D5-27F8-4689-BED6-338D4CFCAABF}"/>
          </ac:spMkLst>
        </pc:spChg>
        <pc:spChg chg="mod">
          <ac:chgData name="Zenos Zenica" userId="de3ee720dba36952" providerId="Windows Live" clId="Web-{87EC33F8-20F9-4A9B-8B0C-47C86D280FAD}" dt="2020-11-23T13:14:24.526" v="2790" actId="14100"/>
          <ac:spMkLst>
            <pc:docMk/>
            <pc:sldMk cId="1625430609" sldId="374"/>
            <ac:spMk id="26" creationId="{BD09A097-493F-4834-A271-3CAD8A4A8FD5}"/>
          </ac:spMkLst>
        </pc:spChg>
        <pc:spChg chg="mod">
          <ac:chgData name="Zenos Zenica" userId="de3ee720dba36952" providerId="Windows Live" clId="Web-{87EC33F8-20F9-4A9B-8B0C-47C86D280FAD}" dt="2020-11-23T13:14:14.744" v="2777"/>
          <ac:spMkLst>
            <pc:docMk/>
            <pc:sldMk cId="1625430609" sldId="374"/>
            <ac:spMk id="27" creationId="{98CEC835-6B66-491C-8262-AC6247DBD396}"/>
          </ac:spMkLst>
        </pc:spChg>
        <pc:spChg chg="mod">
          <ac:chgData name="Zenos Zenica" userId="de3ee720dba36952" providerId="Windows Live" clId="Web-{87EC33F8-20F9-4A9B-8B0C-47C86D280FAD}" dt="2020-11-23T13:14:14.760" v="2778"/>
          <ac:spMkLst>
            <pc:docMk/>
            <pc:sldMk cId="1625430609" sldId="374"/>
            <ac:spMk id="28" creationId="{1F42B3E1-4495-4F10-B16B-5655469C7646}"/>
          </ac:spMkLst>
        </pc:spChg>
        <pc:spChg chg="mod">
          <ac:chgData name="Zenos Zenica" userId="de3ee720dba36952" providerId="Windows Live" clId="Web-{87EC33F8-20F9-4A9B-8B0C-47C86D280FAD}" dt="2020-11-23T13:14:14.853" v="2782"/>
          <ac:spMkLst>
            <pc:docMk/>
            <pc:sldMk cId="1625430609" sldId="374"/>
            <ac:spMk id="29" creationId="{085B5D65-4825-41CE-8579-1837F8B03D12}"/>
          </ac:spMkLst>
        </pc:spChg>
        <pc:spChg chg="mod">
          <ac:chgData name="Zenos Zenica" userId="de3ee720dba36952" providerId="Windows Live" clId="Web-{87EC33F8-20F9-4A9B-8B0C-47C86D280FAD}" dt="2020-11-23T13:14:29.416" v="2791" actId="14100"/>
          <ac:spMkLst>
            <pc:docMk/>
            <pc:sldMk cId="1625430609" sldId="374"/>
            <ac:spMk id="30" creationId="{BCA7D871-0D51-4DA6-B949-32A668E84F4F}"/>
          </ac:spMkLst>
        </pc:spChg>
        <pc:spChg chg="mod">
          <ac:chgData name="Zenos Zenica" userId="de3ee720dba36952" providerId="Windows Live" clId="Web-{87EC33F8-20F9-4A9B-8B0C-47C86D280FAD}" dt="2020-11-23T13:14:14.900" v="2784"/>
          <ac:spMkLst>
            <pc:docMk/>
            <pc:sldMk cId="1625430609" sldId="374"/>
            <ac:spMk id="37" creationId="{3C439CFB-E72B-4596-9F44-96F6AFB9AA64}"/>
          </ac:spMkLst>
        </pc:spChg>
        <pc:spChg chg="mod">
          <ac:chgData name="Zenos Zenica" userId="de3ee720dba36952" providerId="Windows Live" clId="Web-{87EC33F8-20F9-4A9B-8B0C-47C86D280FAD}" dt="2020-11-23T13:14:14.916" v="2785"/>
          <ac:spMkLst>
            <pc:docMk/>
            <pc:sldMk cId="1625430609" sldId="374"/>
            <ac:spMk id="53" creationId="{75273325-F27E-4C57-853F-AAE83A4332A1}"/>
          </ac:spMkLst>
        </pc:spChg>
        <pc:spChg chg="mod">
          <ac:chgData name="Zenos Zenica" userId="de3ee720dba36952" providerId="Windows Live" clId="Web-{87EC33F8-20F9-4A9B-8B0C-47C86D280FAD}" dt="2020-11-23T13:14:42.667" v="2792" actId="14100"/>
          <ac:spMkLst>
            <pc:docMk/>
            <pc:sldMk cId="1625430609" sldId="374"/>
            <ac:spMk id="54" creationId="{0680E122-A7AB-41B7-8A23-049A3459C3B7}"/>
          </ac:spMkLst>
        </pc:spChg>
        <pc:spChg chg="mod">
          <ac:chgData name="Zenos Zenica" userId="de3ee720dba36952" providerId="Windows Live" clId="Web-{87EC33F8-20F9-4A9B-8B0C-47C86D280FAD}" dt="2020-11-23T13:14:14.947" v="2787"/>
          <ac:spMkLst>
            <pc:docMk/>
            <pc:sldMk cId="1625430609" sldId="374"/>
            <ac:spMk id="55" creationId="{7CE51E15-B79E-48F0-AF1E-EC58562032AC}"/>
          </ac:spMkLst>
        </pc:spChg>
        <pc:spChg chg="mod">
          <ac:chgData name="Zenos Zenica" userId="de3ee720dba36952" providerId="Windows Live" clId="Web-{87EC33F8-20F9-4A9B-8B0C-47C86D280FAD}" dt="2020-11-23T13:14:14.963" v="2788"/>
          <ac:spMkLst>
            <pc:docMk/>
            <pc:sldMk cId="1625430609" sldId="374"/>
            <ac:spMk id="56" creationId="{7ADFB08D-493C-459D-84E2-6E9B8256585F}"/>
          </ac:spMkLst>
        </pc:spChg>
        <pc:spChg chg="mod">
          <ac:chgData name="Zenos Zenica" userId="de3ee720dba36952" providerId="Windows Live" clId="Web-{87EC33F8-20F9-4A9B-8B0C-47C86D280FAD}" dt="2020-11-23T13:14:14.978" v="2789"/>
          <ac:spMkLst>
            <pc:docMk/>
            <pc:sldMk cId="1625430609" sldId="374"/>
            <ac:spMk id="57" creationId="{70EA4A0D-30AC-4DB1-A863-DE55D70AE824}"/>
          </ac:spMkLst>
        </pc:spChg>
        <pc:spChg chg="mod">
          <ac:chgData name="Zenos Zenica" userId="de3ee720dba36952" providerId="Windows Live" clId="Web-{87EC33F8-20F9-4A9B-8B0C-47C86D280FAD}" dt="2020-11-23T13:14:14.775" v="2779"/>
          <ac:spMkLst>
            <pc:docMk/>
            <pc:sldMk cId="1625430609" sldId="374"/>
            <ac:spMk id="92" creationId="{1D994512-8139-44F5-80DB-168D27E18A2E}"/>
          </ac:spMkLst>
        </pc:spChg>
        <pc:spChg chg="mod">
          <ac:chgData name="Zenos Zenica" userId="de3ee720dba36952" providerId="Windows Live" clId="Web-{87EC33F8-20F9-4A9B-8B0C-47C86D280FAD}" dt="2020-11-23T13:14:14.791" v="2780"/>
          <ac:spMkLst>
            <pc:docMk/>
            <pc:sldMk cId="1625430609" sldId="374"/>
            <ac:spMk id="95" creationId="{4FFFFDF2-0C0F-4D6A-8D06-65F670FE730A}"/>
          </ac:spMkLst>
        </pc:spChg>
        <pc:spChg chg="mod">
          <ac:chgData name="Zenos Zenica" userId="de3ee720dba36952" providerId="Windows Live" clId="Web-{87EC33F8-20F9-4A9B-8B0C-47C86D280FAD}" dt="2020-11-23T13:14:14.838" v="2781"/>
          <ac:spMkLst>
            <pc:docMk/>
            <pc:sldMk cId="1625430609" sldId="374"/>
            <ac:spMk id="96" creationId="{37E0DD36-F605-4F6F-AB1E-DD4A1F1C9BFB}"/>
          </ac:spMkLst>
        </pc:spChg>
        <pc:cxnChg chg="mod">
          <ac:chgData name="Zenos Zenica" userId="de3ee720dba36952" providerId="Windows Live" clId="Web-{87EC33F8-20F9-4A9B-8B0C-47C86D280FAD}" dt="2020-11-23T13:14:14.838" v="2781"/>
          <ac:cxnSpMkLst>
            <pc:docMk/>
            <pc:sldMk cId="1625430609" sldId="374"/>
            <ac:cxnSpMk id="21" creationId="{7BD19275-38FE-4245-8AC9-35120A991ADA}"/>
          </ac:cxnSpMkLst>
        </pc:cxnChg>
        <pc:cxnChg chg="mod">
          <ac:chgData name="Zenos Zenica" userId="de3ee720dba36952" providerId="Windows Live" clId="Web-{87EC33F8-20F9-4A9B-8B0C-47C86D280FAD}" dt="2020-11-23T13:14:14.838" v="2781"/>
          <ac:cxnSpMkLst>
            <pc:docMk/>
            <pc:sldMk cId="1625430609" sldId="374"/>
            <ac:cxnSpMk id="35" creationId="{0E6FA181-6B63-437A-AF87-F0F3822C000E}"/>
          </ac:cxnSpMkLst>
        </pc:cxnChg>
        <pc:cxnChg chg="mod">
          <ac:chgData name="Zenos Zenica" userId="de3ee720dba36952" providerId="Windows Live" clId="Web-{87EC33F8-20F9-4A9B-8B0C-47C86D280FAD}" dt="2020-11-23T13:14:14.838" v="2781"/>
          <ac:cxnSpMkLst>
            <pc:docMk/>
            <pc:sldMk cId="1625430609" sldId="374"/>
            <ac:cxnSpMk id="38" creationId="{4E095394-BF5C-41E3-BAE7-C1489851EFE6}"/>
          </ac:cxnSpMkLst>
        </pc:cxnChg>
      </pc:sldChg>
      <pc:sldChg chg="modSp add">
        <pc:chgData name="Zenos Zenica" userId="de3ee720dba36952" providerId="Windows Live" clId="Web-{87EC33F8-20F9-4A9B-8B0C-47C86D280FAD}" dt="2020-11-23T13:16:44.826" v="2827" actId="20577"/>
        <pc:sldMkLst>
          <pc:docMk/>
          <pc:sldMk cId="4128815717" sldId="375"/>
        </pc:sldMkLst>
        <pc:spChg chg="mod">
          <ac:chgData name="Zenos Zenica" userId="de3ee720dba36952" providerId="Windows Live" clId="Web-{87EC33F8-20F9-4A9B-8B0C-47C86D280FAD}" dt="2020-11-23T13:16:44.826" v="2827" actId="20577"/>
          <ac:spMkLst>
            <pc:docMk/>
            <pc:sldMk cId="4128815717" sldId="375"/>
            <ac:spMk id="4" creationId="{B8CB9108-1583-4A1C-846B-3263D00D0833}"/>
          </ac:spMkLst>
        </pc:spChg>
        <pc:spChg chg="mod">
          <ac:chgData name="Zenos Zenica" userId="de3ee720dba36952" providerId="Windows Live" clId="Web-{87EC33F8-20F9-4A9B-8B0C-47C86D280FAD}" dt="2020-11-23T13:15:33.215" v="2806" actId="1076"/>
          <ac:spMkLst>
            <pc:docMk/>
            <pc:sldMk cId="4128815717" sldId="375"/>
            <ac:spMk id="5" creationId="{E0DFE09A-343C-4754-88E6-409F141394F4}"/>
          </ac:spMkLst>
        </pc:spChg>
        <pc:graphicFrameChg chg="mod modGraphic">
          <ac:chgData name="Zenos Zenica" userId="de3ee720dba36952" providerId="Windows Live" clId="Web-{87EC33F8-20F9-4A9B-8B0C-47C86D280FAD}" dt="2020-11-23T13:15:44.528" v="2811"/>
          <ac:graphicFrameMkLst>
            <pc:docMk/>
            <pc:sldMk cId="4128815717" sldId="375"/>
            <ac:graphicFrameMk id="53" creationId="{E82591D0-8DD7-4571-8988-F0E12F34DFFA}"/>
          </ac:graphicFrameMkLst>
        </pc:graphicFrameChg>
        <pc:graphicFrameChg chg="mod modGraphic">
          <ac:chgData name="Zenos Zenica" userId="de3ee720dba36952" providerId="Windows Live" clId="Web-{87EC33F8-20F9-4A9B-8B0C-47C86D280FAD}" dt="2020-11-23T13:16:31.998" v="2825" actId="1076"/>
          <ac:graphicFrameMkLst>
            <pc:docMk/>
            <pc:sldMk cId="4128815717" sldId="375"/>
            <ac:graphicFrameMk id="55" creationId="{FC56DE70-C637-41E8-9F67-B98577AF8118}"/>
          </ac:graphicFrameMkLst>
        </pc:graphicFrameChg>
      </pc:sldChg>
      <pc:sldChg chg="modSp add">
        <pc:chgData name="Zenos Zenica" userId="de3ee720dba36952" providerId="Windows Live" clId="Web-{87EC33F8-20F9-4A9B-8B0C-47C86D280FAD}" dt="2020-11-23T13:18:10.579" v="2859" actId="14100"/>
        <pc:sldMkLst>
          <pc:docMk/>
          <pc:sldMk cId="1712965595" sldId="376"/>
        </pc:sldMkLst>
        <pc:spChg chg="mod">
          <ac:chgData name="Zenos Zenica" userId="de3ee720dba36952" providerId="Windows Live" clId="Web-{87EC33F8-20F9-4A9B-8B0C-47C86D280FAD}" dt="2020-11-23T13:17:26.546" v="2835" actId="14100"/>
          <ac:spMkLst>
            <pc:docMk/>
            <pc:sldMk cId="1712965595" sldId="376"/>
            <ac:spMk id="4" creationId="{B8CB9108-1583-4A1C-846B-3263D00D0833}"/>
          </ac:spMkLst>
        </pc:spChg>
        <pc:spChg chg="mod">
          <ac:chgData name="Zenos Zenica" userId="de3ee720dba36952" providerId="Windows Live" clId="Web-{87EC33F8-20F9-4A9B-8B0C-47C86D280FAD}" dt="2020-11-23T13:17:30.468" v="2839"/>
          <ac:spMkLst>
            <pc:docMk/>
            <pc:sldMk cId="1712965595" sldId="376"/>
            <ac:spMk id="8" creationId="{CA355C14-CA35-4EF3-A1D2-58F203B6880D}"/>
          </ac:spMkLst>
        </pc:spChg>
        <pc:spChg chg="mod">
          <ac:chgData name="Zenos Zenica" userId="de3ee720dba36952" providerId="Windows Live" clId="Web-{87EC33F8-20F9-4A9B-8B0C-47C86D280FAD}" dt="2020-11-23T13:17:30.484" v="2840"/>
          <ac:spMkLst>
            <pc:docMk/>
            <pc:sldMk cId="1712965595" sldId="376"/>
            <ac:spMk id="9" creationId="{09A40833-9F07-40EE-BDB3-BFB02B265A3A}"/>
          </ac:spMkLst>
        </pc:spChg>
        <pc:spChg chg="mod">
          <ac:chgData name="Zenos Zenica" userId="de3ee720dba36952" providerId="Windows Live" clId="Web-{87EC33F8-20F9-4A9B-8B0C-47C86D280FAD}" dt="2020-11-23T13:17:30.499" v="2841"/>
          <ac:spMkLst>
            <pc:docMk/>
            <pc:sldMk cId="1712965595" sldId="376"/>
            <ac:spMk id="10" creationId="{297C2258-5D02-444A-AE3B-199B77967C08}"/>
          </ac:spMkLst>
        </pc:spChg>
        <pc:spChg chg="mod">
          <ac:chgData name="Zenos Zenica" userId="de3ee720dba36952" providerId="Windows Live" clId="Web-{87EC33F8-20F9-4A9B-8B0C-47C86D280FAD}" dt="2020-11-23T13:17:50.734" v="2855" actId="1076"/>
          <ac:spMkLst>
            <pc:docMk/>
            <pc:sldMk cId="1712965595" sldId="376"/>
            <ac:spMk id="11" creationId="{ACF18B8D-8725-470B-82D8-108713D211F1}"/>
          </ac:spMkLst>
        </pc:spChg>
        <pc:spChg chg="mod">
          <ac:chgData name="Zenos Zenica" userId="de3ee720dba36952" providerId="Windows Live" clId="Web-{87EC33F8-20F9-4A9B-8B0C-47C86D280FAD}" dt="2020-11-23T13:18:00.922" v="2857" actId="1076"/>
          <ac:spMkLst>
            <pc:docMk/>
            <pc:sldMk cId="1712965595" sldId="376"/>
            <ac:spMk id="12" creationId="{A2798216-4869-4647-93DD-3541C0A720C4}"/>
          </ac:spMkLst>
        </pc:spChg>
        <pc:spChg chg="mod">
          <ac:chgData name="Zenos Zenica" userId="de3ee720dba36952" providerId="Windows Live" clId="Web-{87EC33F8-20F9-4A9B-8B0C-47C86D280FAD}" dt="2020-11-23T13:17:39.328" v="2854" actId="1076"/>
          <ac:spMkLst>
            <pc:docMk/>
            <pc:sldMk cId="1712965595" sldId="376"/>
            <ac:spMk id="13" creationId="{8E442F5C-CE9D-48DD-A7B0-DBA1E44F8373}"/>
          </ac:spMkLst>
        </pc:spChg>
        <pc:spChg chg="mod">
          <ac:chgData name="Zenos Zenica" userId="de3ee720dba36952" providerId="Windows Live" clId="Web-{87EC33F8-20F9-4A9B-8B0C-47C86D280FAD}" dt="2020-11-23T13:18:09.657" v="2858" actId="14100"/>
          <ac:spMkLst>
            <pc:docMk/>
            <pc:sldMk cId="1712965595" sldId="376"/>
            <ac:spMk id="14" creationId="{2DCB4C89-C352-4260-9CAB-6089A30A64F9}"/>
          </ac:spMkLst>
        </pc:spChg>
        <pc:spChg chg="mod">
          <ac:chgData name="Zenos Zenica" userId="de3ee720dba36952" providerId="Windows Live" clId="Web-{87EC33F8-20F9-4A9B-8B0C-47C86D280FAD}" dt="2020-11-23T13:17:30.531" v="2843"/>
          <ac:spMkLst>
            <pc:docMk/>
            <pc:sldMk cId="1712965595" sldId="376"/>
            <ac:spMk id="15" creationId="{378E589C-9F23-4B5B-A92F-468EF0D23D9B}"/>
          </ac:spMkLst>
        </pc:spChg>
        <pc:spChg chg="mod">
          <ac:chgData name="Zenos Zenica" userId="de3ee720dba36952" providerId="Windows Live" clId="Web-{87EC33F8-20F9-4A9B-8B0C-47C86D280FAD}" dt="2020-11-23T13:18:10.579" v="2859" actId="14100"/>
          <ac:spMkLst>
            <pc:docMk/>
            <pc:sldMk cId="1712965595" sldId="376"/>
            <ac:spMk id="16" creationId="{83D4BEAA-4708-4B03-8112-03E1AB9D8B4F}"/>
          </ac:spMkLst>
        </pc:spChg>
        <pc:spChg chg="mod">
          <ac:chgData name="Zenos Zenica" userId="de3ee720dba36952" providerId="Windows Live" clId="Web-{87EC33F8-20F9-4A9B-8B0C-47C86D280FAD}" dt="2020-11-23T13:17:30.562" v="2845"/>
          <ac:spMkLst>
            <pc:docMk/>
            <pc:sldMk cId="1712965595" sldId="376"/>
            <ac:spMk id="17" creationId="{077C37F3-76FA-4916-896F-BA2EDA2245F5}"/>
          </ac:spMkLst>
        </pc:spChg>
        <pc:spChg chg="mod">
          <ac:chgData name="Zenos Zenica" userId="de3ee720dba36952" providerId="Windows Live" clId="Web-{87EC33F8-20F9-4A9B-8B0C-47C86D280FAD}" dt="2020-11-23T13:17:30.578" v="2846"/>
          <ac:spMkLst>
            <pc:docMk/>
            <pc:sldMk cId="1712965595" sldId="376"/>
            <ac:spMk id="18" creationId="{EB834B57-E58E-4CEA-BBDE-7EE2498A3358}"/>
          </ac:spMkLst>
        </pc:spChg>
        <pc:spChg chg="mod">
          <ac:chgData name="Zenos Zenica" userId="de3ee720dba36952" providerId="Windows Live" clId="Web-{87EC33F8-20F9-4A9B-8B0C-47C86D280FAD}" dt="2020-11-23T13:17:30.593" v="2847"/>
          <ac:spMkLst>
            <pc:docMk/>
            <pc:sldMk cId="1712965595" sldId="376"/>
            <ac:spMk id="19" creationId="{A4FE6C57-C7D2-4D03-9B88-89FC492132AD}"/>
          </ac:spMkLst>
        </pc:spChg>
        <pc:spChg chg="mod">
          <ac:chgData name="Zenos Zenica" userId="de3ee720dba36952" providerId="Windows Live" clId="Web-{87EC33F8-20F9-4A9B-8B0C-47C86D280FAD}" dt="2020-11-23T13:17:30.609" v="2848"/>
          <ac:spMkLst>
            <pc:docMk/>
            <pc:sldMk cId="1712965595" sldId="376"/>
            <ac:spMk id="23" creationId="{4B5F459C-511A-4835-837F-059C73BA8AB5}"/>
          </ac:spMkLst>
        </pc:spChg>
        <pc:spChg chg="mod">
          <ac:chgData name="Zenos Zenica" userId="de3ee720dba36952" providerId="Windows Live" clId="Web-{87EC33F8-20F9-4A9B-8B0C-47C86D280FAD}" dt="2020-11-23T13:17:30.624" v="2849"/>
          <ac:spMkLst>
            <pc:docMk/>
            <pc:sldMk cId="1712965595" sldId="376"/>
            <ac:spMk id="26" creationId="{CAA4807B-31E3-4621-8C09-69C12DE2C0C2}"/>
          </ac:spMkLst>
        </pc:spChg>
        <pc:spChg chg="mod">
          <ac:chgData name="Zenos Zenica" userId="de3ee720dba36952" providerId="Windows Live" clId="Web-{87EC33F8-20F9-4A9B-8B0C-47C86D280FAD}" dt="2020-11-23T13:17:30.640" v="2850"/>
          <ac:spMkLst>
            <pc:docMk/>
            <pc:sldMk cId="1712965595" sldId="376"/>
            <ac:spMk id="27" creationId="{654490A2-119E-4A9A-9383-3A37B8A01623}"/>
          </ac:spMkLst>
        </pc:spChg>
      </pc:sldChg>
      <pc:sldChg chg="modSp add">
        <pc:chgData name="Zenos Zenica" userId="de3ee720dba36952" providerId="Windows Live" clId="Web-{87EC33F8-20F9-4A9B-8B0C-47C86D280FAD}" dt="2020-11-23T13:19:27.565" v="2878" actId="20577"/>
        <pc:sldMkLst>
          <pc:docMk/>
          <pc:sldMk cId="1190727556" sldId="377"/>
        </pc:sldMkLst>
        <pc:spChg chg="mod">
          <ac:chgData name="Zenos Zenica" userId="de3ee720dba36952" providerId="Windows Live" clId="Web-{87EC33F8-20F9-4A9B-8B0C-47C86D280FAD}" dt="2020-11-23T13:19:27.565" v="2878" actId="20577"/>
          <ac:spMkLst>
            <pc:docMk/>
            <pc:sldMk cId="1190727556" sldId="377"/>
            <ac:spMk id="4" creationId="{B8CB9108-1583-4A1C-846B-3263D00D0833}"/>
          </ac:spMkLst>
        </pc:spChg>
        <pc:spChg chg="mod">
          <ac:chgData name="Zenos Zenica" userId="de3ee720dba36952" providerId="Windows Live" clId="Web-{87EC33F8-20F9-4A9B-8B0C-47C86D280FAD}" dt="2020-11-23T13:18:47.064" v="2866"/>
          <ac:spMkLst>
            <pc:docMk/>
            <pc:sldMk cId="1190727556" sldId="377"/>
            <ac:spMk id="29" creationId="{96F0992B-EAD8-4CE7-831B-443389EABB34}"/>
          </ac:spMkLst>
        </pc:spChg>
        <pc:spChg chg="mod">
          <ac:chgData name="Zenos Zenica" userId="de3ee720dba36952" providerId="Windows Live" clId="Web-{87EC33F8-20F9-4A9B-8B0C-47C86D280FAD}" dt="2020-11-23T13:18:47.080" v="2867"/>
          <ac:spMkLst>
            <pc:docMk/>
            <pc:sldMk cId="1190727556" sldId="377"/>
            <ac:spMk id="30" creationId="{530F8013-333E-4780-8316-12D9CA305298}"/>
          </ac:spMkLst>
        </pc:spChg>
        <pc:spChg chg="mod">
          <ac:chgData name="Zenos Zenica" userId="de3ee720dba36952" providerId="Windows Live" clId="Web-{87EC33F8-20F9-4A9B-8B0C-47C86D280FAD}" dt="2020-11-23T13:19:06.018" v="2873" actId="1076"/>
          <ac:spMkLst>
            <pc:docMk/>
            <pc:sldMk cId="1190727556" sldId="377"/>
            <ac:spMk id="31" creationId="{07055CE9-EF3A-44C5-8B9D-F79FD5F68122}"/>
          </ac:spMkLst>
        </pc:spChg>
        <pc:spChg chg="mod">
          <ac:chgData name="Zenos Zenica" userId="de3ee720dba36952" providerId="Windows Live" clId="Web-{87EC33F8-20F9-4A9B-8B0C-47C86D280FAD}" dt="2020-11-23T13:18:47.111" v="2869"/>
          <ac:spMkLst>
            <pc:docMk/>
            <pc:sldMk cId="1190727556" sldId="377"/>
            <ac:spMk id="32" creationId="{E2F98401-1BC1-46E0-BA36-DE6B266B49CA}"/>
          </ac:spMkLst>
        </pc:spChg>
        <pc:spChg chg="mod">
          <ac:chgData name="Zenos Zenica" userId="de3ee720dba36952" providerId="Windows Live" clId="Web-{87EC33F8-20F9-4A9B-8B0C-47C86D280FAD}" dt="2020-11-23T13:18:47.127" v="2870"/>
          <ac:spMkLst>
            <pc:docMk/>
            <pc:sldMk cId="1190727556" sldId="377"/>
            <ac:spMk id="33" creationId="{933DCDBF-68E4-48A7-B0F3-906E30EF367C}"/>
          </ac:spMkLst>
        </pc:spChg>
        <pc:spChg chg="mod">
          <ac:chgData name="Zenos Zenica" userId="de3ee720dba36952" providerId="Windows Live" clId="Web-{87EC33F8-20F9-4A9B-8B0C-47C86D280FAD}" dt="2020-11-23T13:18:47.158" v="2871"/>
          <ac:spMkLst>
            <pc:docMk/>
            <pc:sldMk cId="1190727556" sldId="377"/>
            <ac:spMk id="34" creationId="{81549C8A-573D-4AA0-A1B8-4D43EBC048BA}"/>
          </ac:spMkLst>
        </pc:spChg>
        <pc:spChg chg="mod">
          <ac:chgData name="Zenos Zenica" userId="de3ee720dba36952" providerId="Windows Live" clId="Web-{87EC33F8-20F9-4A9B-8B0C-47C86D280FAD}" dt="2020-11-23T13:18:56.424" v="2872" actId="1076"/>
          <ac:spMkLst>
            <pc:docMk/>
            <pc:sldMk cId="1190727556" sldId="377"/>
            <ac:spMk id="35" creationId="{1A13044F-6AEB-428D-9C65-6232F3090444}"/>
          </ac:spMkLst>
        </pc:spChg>
      </pc:sldChg>
      <pc:sldChg chg="modSp add">
        <pc:chgData name="Zenos Zenica" userId="de3ee720dba36952" providerId="Windows Live" clId="Web-{87EC33F8-20F9-4A9B-8B0C-47C86D280FAD}" dt="2020-11-23T13:24:43.730" v="2985"/>
        <pc:sldMkLst>
          <pc:docMk/>
          <pc:sldMk cId="3770450365" sldId="378"/>
        </pc:sldMkLst>
        <pc:spChg chg="mod">
          <ac:chgData name="Zenos Zenica" userId="de3ee720dba36952" providerId="Windows Live" clId="Web-{87EC33F8-20F9-4A9B-8B0C-47C86D280FAD}" dt="2020-11-23T13:19:55.285" v="2890" actId="1076"/>
          <ac:spMkLst>
            <pc:docMk/>
            <pc:sldMk cId="3770450365" sldId="378"/>
            <ac:spMk id="4" creationId="{B8CB9108-1583-4A1C-846B-3263D00D0833}"/>
          </ac:spMkLst>
        </pc:spChg>
        <pc:spChg chg="mod">
          <ac:chgData name="Zenos Zenica" userId="de3ee720dba36952" providerId="Windows Live" clId="Web-{87EC33F8-20F9-4A9B-8B0C-47C86D280FAD}" dt="2020-11-23T13:24:43.574" v="2976"/>
          <ac:spMkLst>
            <pc:docMk/>
            <pc:sldMk cId="3770450365" sldId="378"/>
            <ac:spMk id="19" creationId="{FC79A5AD-A1C5-4C54-8B66-DFC112E058A8}"/>
          </ac:spMkLst>
        </pc:spChg>
        <pc:spChg chg="mod">
          <ac:chgData name="Zenos Zenica" userId="de3ee720dba36952" providerId="Windows Live" clId="Web-{87EC33F8-20F9-4A9B-8B0C-47C86D280FAD}" dt="2020-11-23T13:24:43.590" v="2977"/>
          <ac:spMkLst>
            <pc:docMk/>
            <pc:sldMk cId="3770450365" sldId="378"/>
            <ac:spMk id="23" creationId="{5DB4A469-BD32-49CA-85AD-0BE6EDBD03A9}"/>
          </ac:spMkLst>
        </pc:spChg>
        <pc:spChg chg="mod">
          <ac:chgData name="Zenos Zenica" userId="de3ee720dba36952" providerId="Windows Live" clId="Web-{87EC33F8-20F9-4A9B-8B0C-47C86D280FAD}" dt="2020-11-23T13:24:43.605" v="2978"/>
          <ac:spMkLst>
            <pc:docMk/>
            <pc:sldMk cId="3770450365" sldId="378"/>
            <ac:spMk id="26" creationId="{B6274F5F-B287-44AC-9C32-5D1553E80BCA}"/>
          </ac:spMkLst>
        </pc:spChg>
        <pc:spChg chg="mod">
          <ac:chgData name="Zenos Zenica" userId="de3ee720dba36952" providerId="Windows Live" clId="Web-{87EC33F8-20F9-4A9B-8B0C-47C86D280FAD}" dt="2020-11-23T13:24:43.636" v="2979"/>
          <ac:spMkLst>
            <pc:docMk/>
            <pc:sldMk cId="3770450365" sldId="378"/>
            <ac:spMk id="27" creationId="{23AA4662-1E50-4968-B353-7C977F8980FA}"/>
          </ac:spMkLst>
        </pc:spChg>
        <pc:spChg chg="mod">
          <ac:chgData name="Zenos Zenica" userId="de3ee720dba36952" providerId="Windows Live" clId="Web-{87EC33F8-20F9-4A9B-8B0C-47C86D280FAD}" dt="2020-11-23T13:24:43.652" v="2980"/>
          <ac:spMkLst>
            <pc:docMk/>
            <pc:sldMk cId="3770450365" sldId="378"/>
            <ac:spMk id="36" creationId="{C5CBE19A-8EC4-4E17-8F7A-836B7E91852B}"/>
          </ac:spMkLst>
        </pc:spChg>
        <pc:spChg chg="mod">
          <ac:chgData name="Zenos Zenica" userId="de3ee720dba36952" providerId="Windows Live" clId="Web-{87EC33F8-20F9-4A9B-8B0C-47C86D280FAD}" dt="2020-11-23T13:24:43.668" v="2981"/>
          <ac:spMkLst>
            <pc:docMk/>
            <pc:sldMk cId="3770450365" sldId="378"/>
            <ac:spMk id="37" creationId="{457B3B6B-CEF0-486A-AEA4-1708549C2BE3}"/>
          </ac:spMkLst>
        </pc:spChg>
        <pc:spChg chg="mod">
          <ac:chgData name="Zenos Zenica" userId="de3ee720dba36952" providerId="Windows Live" clId="Web-{87EC33F8-20F9-4A9B-8B0C-47C86D280FAD}" dt="2020-11-23T13:24:43.683" v="2982"/>
          <ac:spMkLst>
            <pc:docMk/>
            <pc:sldMk cId="3770450365" sldId="378"/>
            <ac:spMk id="38" creationId="{5EAE4798-EE94-4C69-8120-75FCE9B3EF0B}"/>
          </ac:spMkLst>
        </pc:spChg>
        <pc:spChg chg="mod">
          <ac:chgData name="Zenos Zenica" userId="de3ee720dba36952" providerId="Windows Live" clId="Web-{87EC33F8-20F9-4A9B-8B0C-47C86D280FAD}" dt="2020-11-23T13:24:43.699" v="2983"/>
          <ac:spMkLst>
            <pc:docMk/>
            <pc:sldMk cId="3770450365" sldId="378"/>
            <ac:spMk id="39" creationId="{BF1202B6-C208-4DB2-952D-9B42E96BA44E}"/>
          </ac:spMkLst>
        </pc:spChg>
        <pc:spChg chg="mod">
          <ac:chgData name="Zenos Zenica" userId="de3ee720dba36952" providerId="Windows Live" clId="Web-{87EC33F8-20F9-4A9B-8B0C-47C86D280FAD}" dt="2020-11-23T13:24:43.715" v="2984"/>
          <ac:spMkLst>
            <pc:docMk/>
            <pc:sldMk cId="3770450365" sldId="378"/>
            <ac:spMk id="40" creationId="{044AA074-D4F0-4D0B-9F16-A8E8F1BFC26C}"/>
          </ac:spMkLst>
        </pc:spChg>
        <pc:spChg chg="mod">
          <ac:chgData name="Zenos Zenica" userId="de3ee720dba36952" providerId="Windows Live" clId="Web-{87EC33F8-20F9-4A9B-8B0C-47C86D280FAD}" dt="2020-11-23T13:24:43.730" v="2985"/>
          <ac:spMkLst>
            <pc:docMk/>
            <pc:sldMk cId="3770450365" sldId="378"/>
            <ac:spMk id="41" creationId="{4B033314-8376-4B93-BDD0-EB65A3B48C1E}"/>
          </ac:spMkLst>
        </pc:spChg>
        <pc:spChg chg="mod">
          <ac:chgData name="Zenos Zenica" userId="de3ee720dba36952" providerId="Windows Live" clId="Web-{87EC33F8-20F9-4A9B-8B0C-47C86D280FAD}" dt="2020-11-23T13:20:42.177" v="2901" actId="14100"/>
          <ac:spMkLst>
            <pc:docMk/>
            <pc:sldMk cId="3770450365" sldId="378"/>
            <ac:spMk id="42" creationId="{809D22EB-2609-4D39-8E92-51A2829B82FB}"/>
          </ac:spMkLst>
        </pc:spChg>
        <pc:spChg chg="mod">
          <ac:chgData name="Zenos Zenica" userId="de3ee720dba36952" providerId="Windows Live" clId="Web-{87EC33F8-20F9-4A9B-8B0C-47C86D280FAD}" dt="2020-11-23T13:20:49.224" v="2903" actId="14100"/>
          <ac:spMkLst>
            <pc:docMk/>
            <pc:sldMk cId="3770450365" sldId="378"/>
            <ac:spMk id="43" creationId="{C6AC052F-2891-4D83-AA23-0639B87900C9}"/>
          </ac:spMkLst>
        </pc:spChg>
        <pc:spChg chg="mod">
          <ac:chgData name="Zenos Zenica" userId="de3ee720dba36952" providerId="Windows Live" clId="Web-{87EC33F8-20F9-4A9B-8B0C-47C86D280FAD}" dt="2020-11-23T13:20:46.020" v="2902" actId="14100"/>
          <ac:spMkLst>
            <pc:docMk/>
            <pc:sldMk cId="3770450365" sldId="378"/>
            <ac:spMk id="44" creationId="{20019679-2364-4AAE-A7AB-2563DF8A219E}"/>
          </ac:spMkLst>
        </pc:spChg>
        <pc:spChg chg="mod">
          <ac:chgData name="Zenos Zenica" userId="de3ee720dba36952" providerId="Windows Live" clId="Web-{87EC33F8-20F9-4A9B-8B0C-47C86D280FAD}" dt="2020-11-23T13:24:18.433" v="2973" actId="1076"/>
          <ac:spMkLst>
            <pc:docMk/>
            <pc:sldMk cId="3770450365" sldId="378"/>
            <ac:spMk id="45" creationId="{D4725715-5810-4881-B49E-63B497BCEBD0}"/>
          </ac:spMkLst>
        </pc:spChg>
        <pc:spChg chg="mod">
          <ac:chgData name="Zenos Zenica" userId="de3ee720dba36952" providerId="Windows Live" clId="Web-{87EC33F8-20F9-4A9B-8B0C-47C86D280FAD}" dt="2020-11-23T13:21:01.005" v="2906" actId="14100"/>
          <ac:spMkLst>
            <pc:docMk/>
            <pc:sldMk cId="3770450365" sldId="378"/>
            <ac:spMk id="46" creationId="{6B9D1117-6531-41AE-AD6D-61C33944E9AC}"/>
          </ac:spMkLst>
        </pc:spChg>
        <pc:spChg chg="mod">
          <ac:chgData name="Zenos Zenica" userId="de3ee720dba36952" providerId="Windows Live" clId="Web-{87EC33F8-20F9-4A9B-8B0C-47C86D280FAD}" dt="2020-11-23T13:22:18.976" v="2923"/>
          <ac:spMkLst>
            <pc:docMk/>
            <pc:sldMk cId="3770450365" sldId="378"/>
            <ac:spMk id="47" creationId="{58002E68-1605-4679-93AD-FDD87D44C559}"/>
          </ac:spMkLst>
        </pc:spChg>
        <pc:spChg chg="mod">
          <ac:chgData name="Zenos Zenica" userId="de3ee720dba36952" providerId="Windows Live" clId="Web-{87EC33F8-20F9-4A9B-8B0C-47C86D280FAD}" dt="2020-11-23T13:22:19.007" v="2924"/>
          <ac:spMkLst>
            <pc:docMk/>
            <pc:sldMk cId="3770450365" sldId="378"/>
            <ac:spMk id="48" creationId="{82F4E0FE-FF93-4FFE-8281-76F4FA9644D8}"/>
          </ac:spMkLst>
        </pc:spChg>
        <pc:spChg chg="mod">
          <ac:chgData name="Zenos Zenica" userId="de3ee720dba36952" providerId="Windows Live" clId="Web-{87EC33F8-20F9-4A9B-8B0C-47C86D280FAD}" dt="2020-11-23T13:22:19.023" v="2925"/>
          <ac:spMkLst>
            <pc:docMk/>
            <pc:sldMk cId="3770450365" sldId="378"/>
            <ac:spMk id="49" creationId="{BC0C98EB-08A4-4FFC-941E-C0EF3DDD1B14}"/>
          </ac:spMkLst>
        </pc:spChg>
        <pc:spChg chg="mod">
          <ac:chgData name="Zenos Zenica" userId="de3ee720dba36952" providerId="Windows Live" clId="Web-{87EC33F8-20F9-4A9B-8B0C-47C86D280FAD}" dt="2020-11-23T13:22:19.054" v="2926"/>
          <ac:spMkLst>
            <pc:docMk/>
            <pc:sldMk cId="3770450365" sldId="378"/>
            <ac:spMk id="50" creationId="{4A1354B9-89E6-4F0B-B3A6-319C42EBB6A1}"/>
          </ac:spMkLst>
        </pc:spChg>
        <pc:spChg chg="mod">
          <ac:chgData name="Zenos Zenica" userId="de3ee720dba36952" providerId="Windows Live" clId="Web-{87EC33F8-20F9-4A9B-8B0C-47C86D280FAD}" dt="2020-11-23T13:22:19.070" v="2927"/>
          <ac:spMkLst>
            <pc:docMk/>
            <pc:sldMk cId="3770450365" sldId="378"/>
            <ac:spMk id="51" creationId="{336E0557-6EE0-4DDA-B7DC-8D91D2BDF181}"/>
          </ac:spMkLst>
        </pc:spChg>
        <pc:spChg chg="mod">
          <ac:chgData name="Zenos Zenica" userId="de3ee720dba36952" providerId="Windows Live" clId="Web-{87EC33F8-20F9-4A9B-8B0C-47C86D280FAD}" dt="2020-11-23T13:21:49.366" v="2915" actId="14100"/>
          <ac:spMkLst>
            <pc:docMk/>
            <pc:sldMk cId="3770450365" sldId="378"/>
            <ac:spMk id="52" creationId="{5C9DC143-1563-4C18-8CB0-6115BD5315AF}"/>
          </ac:spMkLst>
        </pc:spChg>
        <pc:spChg chg="mod">
          <ac:chgData name="Zenos Zenica" userId="de3ee720dba36952" providerId="Windows Live" clId="Web-{87EC33F8-20F9-4A9B-8B0C-47C86D280FAD}" dt="2020-11-23T13:23:06.118" v="2949" actId="1076"/>
          <ac:spMkLst>
            <pc:docMk/>
            <pc:sldMk cId="3770450365" sldId="378"/>
            <ac:spMk id="53" creationId="{40EFA63A-28BC-4C9F-BEE5-1157C0B799A8}"/>
          </ac:spMkLst>
        </pc:spChg>
        <pc:spChg chg="mod">
          <ac:chgData name="Zenos Zenica" userId="de3ee720dba36952" providerId="Windows Live" clId="Web-{87EC33F8-20F9-4A9B-8B0C-47C86D280FAD}" dt="2020-11-23T13:21:50.225" v="2917" actId="14100"/>
          <ac:spMkLst>
            <pc:docMk/>
            <pc:sldMk cId="3770450365" sldId="378"/>
            <ac:spMk id="54" creationId="{5AD556B5-6A21-48E8-A4BE-7BD7FC1B3160}"/>
          </ac:spMkLst>
        </pc:spChg>
        <pc:spChg chg="mod">
          <ac:chgData name="Zenos Zenica" userId="de3ee720dba36952" providerId="Windows Live" clId="Web-{87EC33F8-20F9-4A9B-8B0C-47C86D280FAD}" dt="2020-11-23T13:22:05.929" v="2921" actId="14100"/>
          <ac:spMkLst>
            <pc:docMk/>
            <pc:sldMk cId="3770450365" sldId="378"/>
            <ac:spMk id="55" creationId="{6968D882-E68D-4279-AD9C-BCB05B95F811}"/>
          </ac:spMkLst>
        </pc:spChg>
        <pc:spChg chg="mod">
          <ac:chgData name="Zenos Zenica" userId="de3ee720dba36952" providerId="Windows Live" clId="Web-{87EC33F8-20F9-4A9B-8B0C-47C86D280FAD}" dt="2020-11-23T13:22:10.773" v="2922" actId="14100"/>
          <ac:spMkLst>
            <pc:docMk/>
            <pc:sldMk cId="3770450365" sldId="378"/>
            <ac:spMk id="56" creationId="{AFC0CFB4-B923-4EBF-8A68-962DF7181CD2}"/>
          </ac:spMkLst>
        </pc:spChg>
        <pc:spChg chg="mod">
          <ac:chgData name="Zenos Zenica" userId="de3ee720dba36952" providerId="Windows Live" clId="Web-{87EC33F8-20F9-4A9B-8B0C-47C86D280FAD}" dt="2020-11-23T13:21:50.178" v="2916" actId="1076"/>
          <ac:spMkLst>
            <pc:docMk/>
            <pc:sldMk cId="3770450365" sldId="378"/>
            <ac:spMk id="57" creationId="{68DE1A07-F497-4CC7-9AE1-73A441BAF648}"/>
          </ac:spMkLst>
        </pc:spChg>
        <pc:spChg chg="mod">
          <ac:chgData name="Zenos Zenica" userId="de3ee720dba36952" providerId="Windows Live" clId="Web-{87EC33F8-20F9-4A9B-8B0C-47C86D280FAD}" dt="2020-11-23T13:22:29.586" v="2937" actId="1076"/>
          <ac:spMkLst>
            <pc:docMk/>
            <pc:sldMk cId="3770450365" sldId="378"/>
            <ac:spMk id="58" creationId="{89519318-20D5-41D1-808F-E77833BD7490}"/>
          </ac:spMkLst>
        </pc:spChg>
        <pc:spChg chg="mod">
          <ac:chgData name="Zenos Zenica" userId="de3ee720dba36952" providerId="Windows Live" clId="Web-{87EC33F8-20F9-4A9B-8B0C-47C86D280FAD}" dt="2020-11-23T13:23:42.135" v="2962" actId="1076"/>
          <ac:spMkLst>
            <pc:docMk/>
            <pc:sldMk cId="3770450365" sldId="378"/>
            <ac:spMk id="59" creationId="{A9872E48-DD7B-41D2-AC9F-9CF961963C0D}"/>
          </ac:spMkLst>
        </pc:spChg>
        <pc:spChg chg="mod">
          <ac:chgData name="Zenos Zenica" userId="de3ee720dba36952" providerId="Windows Live" clId="Web-{87EC33F8-20F9-4A9B-8B0C-47C86D280FAD}" dt="2020-11-23T13:24:23.386" v="2974" actId="1076"/>
          <ac:spMkLst>
            <pc:docMk/>
            <pc:sldMk cId="3770450365" sldId="378"/>
            <ac:spMk id="60" creationId="{3B2151AB-36A9-41ED-A6E4-AF8C0940FD83}"/>
          </ac:spMkLst>
        </pc:spChg>
        <pc:spChg chg="mod">
          <ac:chgData name="Zenos Zenica" userId="de3ee720dba36952" providerId="Windows Live" clId="Web-{87EC33F8-20F9-4A9B-8B0C-47C86D280FAD}" dt="2020-11-23T13:24:27.636" v="2975" actId="1076"/>
          <ac:spMkLst>
            <pc:docMk/>
            <pc:sldMk cId="3770450365" sldId="378"/>
            <ac:spMk id="61" creationId="{EE49686B-080D-4532-98CD-06CCDF9BC683}"/>
          </ac:spMkLst>
        </pc:spChg>
      </pc:sldChg>
      <pc:sldChg chg="modSp add">
        <pc:chgData name="Zenos Zenica" userId="de3ee720dba36952" providerId="Windows Live" clId="Web-{87EC33F8-20F9-4A9B-8B0C-47C86D280FAD}" dt="2020-11-23T13:26:17.108" v="3031" actId="1076"/>
        <pc:sldMkLst>
          <pc:docMk/>
          <pc:sldMk cId="1828066919" sldId="379"/>
        </pc:sldMkLst>
        <pc:spChg chg="mod">
          <ac:chgData name="Zenos Zenica" userId="de3ee720dba36952" providerId="Windows Live" clId="Web-{87EC33F8-20F9-4A9B-8B0C-47C86D280FAD}" dt="2020-11-23T13:26:17.108" v="3031" actId="1076"/>
          <ac:spMkLst>
            <pc:docMk/>
            <pc:sldMk cId="1828066919" sldId="379"/>
            <ac:spMk id="4" creationId="{B8CB9108-1583-4A1C-846B-3263D00D0833}"/>
          </ac:spMkLst>
        </pc:spChg>
        <pc:graphicFrameChg chg="mod modGraphic">
          <ac:chgData name="Zenos Zenica" userId="de3ee720dba36952" providerId="Windows Live" clId="Web-{87EC33F8-20F9-4A9B-8B0C-47C86D280FAD}" dt="2020-11-23T13:25:48.498" v="3021" actId="1076"/>
          <ac:graphicFrameMkLst>
            <pc:docMk/>
            <pc:sldMk cId="1828066919" sldId="379"/>
            <ac:graphicFrameMk id="5" creationId="{97EE422A-12B2-476F-90D7-963701CC40F9}"/>
          </ac:graphicFrameMkLst>
        </pc:graphicFrameChg>
      </pc:sldChg>
      <pc:sldChg chg="modSp add">
        <pc:chgData name="Zenos Zenica" userId="de3ee720dba36952" providerId="Windows Live" clId="Web-{87EC33F8-20F9-4A9B-8B0C-47C86D280FAD}" dt="2020-11-23T13:43:03.854" v="3330" actId="1076"/>
        <pc:sldMkLst>
          <pc:docMk/>
          <pc:sldMk cId="864202869" sldId="380"/>
        </pc:sldMkLst>
        <pc:spChg chg="mod">
          <ac:chgData name="Zenos Zenica" userId="de3ee720dba36952" providerId="Windows Live" clId="Web-{87EC33F8-20F9-4A9B-8B0C-47C86D280FAD}" dt="2020-11-23T13:26:52.843" v="3042"/>
          <ac:spMkLst>
            <pc:docMk/>
            <pc:sldMk cId="864202869" sldId="380"/>
            <ac:spMk id="7" creationId="{D9990D1C-6908-4833-9D62-721B52558E41}"/>
          </ac:spMkLst>
        </pc:spChg>
        <pc:spChg chg="mod">
          <ac:chgData name="Zenos Zenica" userId="de3ee720dba36952" providerId="Windows Live" clId="Web-{87EC33F8-20F9-4A9B-8B0C-47C86D280FAD}" dt="2020-11-23T13:26:52.859" v="3043"/>
          <ac:spMkLst>
            <pc:docMk/>
            <pc:sldMk cId="864202869" sldId="380"/>
            <ac:spMk id="8" creationId="{C923110C-A421-4F7E-8F3B-8052EA6163B2}"/>
          </ac:spMkLst>
        </pc:spChg>
        <pc:spChg chg="mod">
          <ac:chgData name="Zenos Zenica" userId="de3ee720dba36952" providerId="Windows Live" clId="Web-{87EC33F8-20F9-4A9B-8B0C-47C86D280FAD}" dt="2020-11-23T13:26:52.890" v="3044"/>
          <ac:spMkLst>
            <pc:docMk/>
            <pc:sldMk cId="864202869" sldId="380"/>
            <ac:spMk id="9" creationId="{6FF20836-3C82-4ABA-BABB-743C37979052}"/>
          </ac:spMkLst>
        </pc:spChg>
        <pc:spChg chg="mod">
          <ac:chgData name="Zenos Zenica" userId="de3ee720dba36952" providerId="Windows Live" clId="Web-{87EC33F8-20F9-4A9B-8B0C-47C86D280FAD}" dt="2020-11-23T13:26:52.906" v="3045"/>
          <ac:spMkLst>
            <pc:docMk/>
            <pc:sldMk cId="864202869" sldId="380"/>
            <ac:spMk id="10" creationId="{FCDD1FA8-93C4-4A37-BD9F-4C76B00CE4D8}"/>
          </ac:spMkLst>
        </pc:spChg>
        <pc:spChg chg="mod">
          <ac:chgData name="Zenos Zenica" userId="de3ee720dba36952" providerId="Windows Live" clId="Web-{87EC33F8-20F9-4A9B-8B0C-47C86D280FAD}" dt="2020-11-23T13:42:33.182" v="3326" actId="14100"/>
          <ac:spMkLst>
            <pc:docMk/>
            <pc:sldMk cId="864202869" sldId="380"/>
            <ac:spMk id="11" creationId="{D8E1D7E0-4C0B-4443-837D-A6D1BCE73E31}"/>
          </ac:spMkLst>
        </pc:spChg>
        <pc:spChg chg="mod">
          <ac:chgData name="Zenos Zenica" userId="de3ee720dba36952" providerId="Windows Live" clId="Web-{87EC33F8-20F9-4A9B-8B0C-47C86D280FAD}" dt="2020-11-23T13:42:38.307" v="3327" actId="1076"/>
          <ac:spMkLst>
            <pc:docMk/>
            <pc:sldMk cId="864202869" sldId="380"/>
            <ac:spMk id="12" creationId="{B79E3188-FAC4-4D75-AABE-934EE293AD1C}"/>
          </ac:spMkLst>
        </pc:spChg>
        <pc:spChg chg="mod">
          <ac:chgData name="Zenos Zenica" userId="de3ee720dba36952" providerId="Windows Live" clId="Web-{87EC33F8-20F9-4A9B-8B0C-47C86D280FAD}" dt="2020-11-23T13:42:58.401" v="3329" actId="14100"/>
          <ac:spMkLst>
            <pc:docMk/>
            <pc:sldMk cId="864202869" sldId="380"/>
            <ac:spMk id="13" creationId="{54E9B391-EFF3-4591-8C18-D21B0684391A}"/>
          </ac:spMkLst>
        </pc:spChg>
        <pc:spChg chg="mod">
          <ac:chgData name="Zenos Zenica" userId="de3ee720dba36952" providerId="Windows Live" clId="Web-{87EC33F8-20F9-4A9B-8B0C-47C86D280FAD}" dt="2020-11-23T13:43:03.854" v="3330" actId="1076"/>
          <ac:spMkLst>
            <pc:docMk/>
            <pc:sldMk cId="864202869" sldId="380"/>
            <ac:spMk id="14" creationId="{F43D6D0F-A6CB-4078-AADA-3AE3AB4C5A74}"/>
          </ac:spMkLst>
        </pc:spChg>
        <pc:spChg chg="mod">
          <ac:chgData name="Zenos Zenica" userId="de3ee720dba36952" providerId="Windows Live" clId="Web-{87EC33F8-20F9-4A9B-8B0C-47C86D280FAD}" dt="2020-11-23T13:26:52.999" v="3050"/>
          <ac:spMkLst>
            <pc:docMk/>
            <pc:sldMk cId="864202869" sldId="380"/>
            <ac:spMk id="15" creationId="{C359E422-F1F8-4DC0-B890-DDDE45FCD6B1}"/>
          </ac:spMkLst>
        </pc:spChg>
        <pc:spChg chg="mod">
          <ac:chgData name="Zenos Zenica" userId="de3ee720dba36952" providerId="Windows Live" clId="Web-{87EC33F8-20F9-4A9B-8B0C-47C86D280FAD}" dt="2020-11-23T13:42:50.495" v="3328" actId="1076"/>
          <ac:spMkLst>
            <pc:docMk/>
            <pc:sldMk cId="864202869" sldId="380"/>
            <ac:spMk id="17" creationId="{995B47BD-0CD2-40B3-A042-6C26851CEAB0}"/>
          </ac:spMkLst>
        </pc:spChg>
        <pc:spChg chg="mod">
          <ac:chgData name="Zenos Zenica" userId="de3ee720dba36952" providerId="Windows Live" clId="Web-{87EC33F8-20F9-4A9B-8B0C-47C86D280FAD}" dt="2020-11-23T13:26:53.031" v="3051"/>
          <ac:spMkLst>
            <pc:docMk/>
            <pc:sldMk cId="864202869" sldId="380"/>
            <ac:spMk id="19" creationId="{F2A51824-B11A-4E32-9BF7-E66B7C2D3B35}"/>
          </ac:spMkLst>
        </pc:spChg>
        <pc:spChg chg="mod">
          <ac:chgData name="Zenos Zenica" userId="de3ee720dba36952" providerId="Windows Live" clId="Web-{87EC33F8-20F9-4A9B-8B0C-47C86D280FAD}" dt="2020-11-23T13:26:36.686" v="3039" actId="20577"/>
          <ac:spMkLst>
            <pc:docMk/>
            <pc:sldMk cId="864202869" sldId="380"/>
            <ac:spMk id="21" creationId="{CB4BC806-EF56-4D77-94C0-98A9C8BA5E7C}"/>
          </ac:spMkLst>
        </pc:spChg>
      </pc:sldChg>
      <pc:sldChg chg="modSp add">
        <pc:chgData name="Zenos Zenica" userId="de3ee720dba36952" providerId="Windows Live" clId="Web-{87EC33F8-20F9-4A9B-8B0C-47C86D280FAD}" dt="2020-11-23T13:33:34.339" v="3203" actId="20577"/>
        <pc:sldMkLst>
          <pc:docMk/>
          <pc:sldMk cId="4095727054" sldId="381"/>
        </pc:sldMkLst>
        <pc:spChg chg="mod">
          <ac:chgData name="Zenos Zenica" userId="de3ee720dba36952" providerId="Windows Live" clId="Web-{87EC33F8-20F9-4A9B-8B0C-47C86D280FAD}" dt="2020-11-23T13:33:34.339" v="3203" actId="20577"/>
          <ac:spMkLst>
            <pc:docMk/>
            <pc:sldMk cId="4095727054" sldId="381"/>
            <ac:spMk id="4" creationId="{B8CB9108-1583-4A1C-846B-3263D00D0833}"/>
          </ac:spMkLst>
        </pc:spChg>
        <pc:spChg chg="mod">
          <ac:chgData name="Zenos Zenica" userId="de3ee720dba36952" providerId="Windows Live" clId="Web-{87EC33F8-20F9-4A9B-8B0C-47C86D280FAD}" dt="2020-11-23T13:31:05.397" v="3169" actId="14100"/>
          <ac:spMkLst>
            <pc:docMk/>
            <pc:sldMk cId="4095727054" sldId="381"/>
            <ac:spMk id="23" creationId="{38CEBAD3-01EC-4FB8-8E56-4B6620A121BF}"/>
          </ac:spMkLst>
        </pc:spChg>
        <pc:spChg chg="mod">
          <ac:chgData name="Zenos Zenica" userId="de3ee720dba36952" providerId="Windows Live" clId="Web-{87EC33F8-20F9-4A9B-8B0C-47C86D280FAD}" dt="2020-11-23T13:31:05.413" v="3170" actId="14100"/>
          <ac:spMkLst>
            <pc:docMk/>
            <pc:sldMk cId="4095727054" sldId="381"/>
            <ac:spMk id="24" creationId="{06CFC4F6-74A8-4DFE-8F0F-7FCD4D96999A}"/>
          </ac:spMkLst>
        </pc:spChg>
        <pc:spChg chg="mod">
          <ac:chgData name="Zenos Zenica" userId="de3ee720dba36952" providerId="Windows Live" clId="Web-{87EC33F8-20F9-4A9B-8B0C-47C86D280FAD}" dt="2020-11-23T13:31:05.428" v="3171" actId="14100"/>
          <ac:spMkLst>
            <pc:docMk/>
            <pc:sldMk cId="4095727054" sldId="381"/>
            <ac:spMk id="25" creationId="{B0FD7098-F76C-477A-B6DD-A166CAFF8710}"/>
          </ac:spMkLst>
        </pc:spChg>
        <pc:spChg chg="mod">
          <ac:chgData name="Zenos Zenica" userId="de3ee720dba36952" providerId="Windows Live" clId="Web-{87EC33F8-20F9-4A9B-8B0C-47C86D280FAD}" dt="2020-11-23T13:31:05.428" v="3172" actId="14100"/>
          <ac:spMkLst>
            <pc:docMk/>
            <pc:sldMk cId="4095727054" sldId="381"/>
            <ac:spMk id="27" creationId="{914D4433-7180-4DE8-9A0F-6C91DC9382F9}"/>
          </ac:spMkLst>
        </pc:spChg>
        <pc:spChg chg="mod">
          <ac:chgData name="Zenos Zenica" userId="de3ee720dba36952" providerId="Windows Live" clId="Web-{87EC33F8-20F9-4A9B-8B0C-47C86D280FAD}" dt="2020-11-23T13:32:17.352" v="3189" actId="1076"/>
          <ac:spMkLst>
            <pc:docMk/>
            <pc:sldMk cId="4095727054" sldId="381"/>
            <ac:spMk id="28" creationId="{503844B9-581D-43F8-AB66-B6B4644929CE}"/>
          </ac:spMkLst>
        </pc:spChg>
        <pc:spChg chg="mod">
          <ac:chgData name="Zenos Zenica" userId="de3ee720dba36952" providerId="Windows Live" clId="Web-{87EC33F8-20F9-4A9B-8B0C-47C86D280FAD}" dt="2020-11-23T13:31:53.633" v="3185" actId="14100"/>
          <ac:spMkLst>
            <pc:docMk/>
            <pc:sldMk cId="4095727054" sldId="381"/>
            <ac:spMk id="29" creationId="{0B443420-F081-4BC0-A70C-B3CC8F948189}"/>
          </ac:spMkLst>
        </pc:spChg>
        <pc:spChg chg="mod">
          <ac:chgData name="Zenos Zenica" userId="de3ee720dba36952" providerId="Windows Live" clId="Web-{87EC33F8-20F9-4A9B-8B0C-47C86D280FAD}" dt="2020-11-23T13:32:05.117" v="3187" actId="14100"/>
          <ac:spMkLst>
            <pc:docMk/>
            <pc:sldMk cId="4095727054" sldId="381"/>
            <ac:spMk id="30" creationId="{3FD3AE5A-1BE1-4E29-8F6D-90DE7E837AE0}"/>
          </ac:spMkLst>
        </pc:spChg>
        <pc:spChg chg="mod">
          <ac:chgData name="Zenos Zenica" userId="de3ee720dba36952" providerId="Windows Live" clId="Web-{87EC33F8-20F9-4A9B-8B0C-47C86D280FAD}" dt="2020-11-23T13:31:05.491" v="3176" actId="14100"/>
          <ac:spMkLst>
            <pc:docMk/>
            <pc:sldMk cId="4095727054" sldId="381"/>
            <ac:spMk id="31" creationId="{9A2A44DC-0DB5-4668-B47A-C8688596BCBD}"/>
          </ac:spMkLst>
        </pc:spChg>
        <pc:spChg chg="mod">
          <ac:chgData name="Zenos Zenica" userId="de3ee720dba36952" providerId="Windows Live" clId="Web-{87EC33F8-20F9-4A9B-8B0C-47C86D280FAD}" dt="2020-11-23T13:31:05.506" v="3177" actId="14100"/>
          <ac:spMkLst>
            <pc:docMk/>
            <pc:sldMk cId="4095727054" sldId="381"/>
            <ac:spMk id="33" creationId="{4A26CA74-E445-4E0B-B9FE-840C8E8A4F43}"/>
          </ac:spMkLst>
        </pc:spChg>
        <pc:spChg chg="mod">
          <ac:chgData name="Zenos Zenica" userId="de3ee720dba36952" providerId="Windows Live" clId="Web-{87EC33F8-20F9-4A9B-8B0C-47C86D280FAD}" dt="2020-11-23T13:32:13.399" v="3188" actId="1076"/>
          <ac:spMkLst>
            <pc:docMk/>
            <pc:sldMk cId="4095727054" sldId="381"/>
            <ac:spMk id="34" creationId="{22AB0BEC-29BD-4F64-B782-0187ABB23EC3}"/>
          </ac:spMkLst>
        </pc:spChg>
        <pc:spChg chg="mod">
          <ac:chgData name="Zenos Zenica" userId="de3ee720dba36952" providerId="Windows Live" clId="Web-{87EC33F8-20F9-4A9B-8B0C-47C86D280FAD}" dt="2020-11-23T13:32:47.290" v="3193" actId="14100"/>
          <ac:spMkLst>
            <pc:docMk/>
            <pc:sldMk cId="4095727054" sldId="381"/>
            <ac:spMk id="35" creationId="{1AE2E2D8-7FFA-4C5F-BCB6-396B14434D86}"/>
          </ac:spMkLst>
        </pc:spChg>
        <pc:spChg chg="mod">
          <ac:chgData name="Zenos Zenica" userId="de3ee720dba36952" providerId="Windows Live" clId="Web-{87EC33F8-20F9-4A9B-8B0C-47C86D280FAD}" dt="2020-11-23T13:33:08.338" v="3196" actId="14100"/>
          <ac:spMkLst>
            <pc:docMk/>
            <pc:sldMk cId="4095727054" sldId="381"/>
            <ac:spMk id="36" creationId="{11CD41B8-E7A0-4BC7-889B-A2AEA92A3D10}"/>
          </ac:spMkLst>
        </pc:spChg>
        <pc:spChg chg="mod">
          <ac:chgData name="Zenos Zenica" userId="de3ee720dba36952" providerId="Windows Live" clId="Web-{87EC33F8-20F9-4A9B-8B0C-47C86D280FAD}" dt="2020-11-23T13:31:10.381" v="3184" actId="14100"/>
          <ac:spMkLst>
            <pc:docMk/>
            <pc:sldMk cId="4095727054" sldId="381"/>
            <ac:spMk id="37" creationId="{6C69C51B-A138-4ECD-B041-3B9DF3EB887E}"/>
          </ac:spMkLst>
        </pc:spChg>
        <pc:spChg chg="mod">
          <ac:chgData name="Zenos Zenica" userId="de3ee720dba36952" providerId="Windows Live" clId="Web-{87EC33F8-20F9-4A9B-8B0C-47C86D280FAD}" dt="2020-11-23T13:31:05.584" v="3182" actId="14100"/>
          <ac:spMkLst>
            <pc:docMk/>
            <pc:sldMk cId="4095727054" sldId="381"/>
            <ac:spMk id="39" creationId="{2A1552D3-2090-4A15-BD98-8D3B0C1215D9}"/>
          </ac:spMkLst>
        </pc:spChg>
        <pc:spChg chg="mod">
          <ac:chgData name="Zenos Zenica" userId="de3ee720dba36952" providerId="Windows Live" clId="Web-{87EC33F8-20F9-4A9B-8B0C-47C86D280FAD}" dt="2020-11-23T13:33:02.385" v="3195" actId="1076"/>
          <ac:spMkLst>
            <pc:docMk/>
            <pc:sldMk cId="4095727054" sldId="381"/>
            <ac:spMk id="40" creationId="{27A142E1-D7BF-483C-98D0-BCD3911C3078}"/>
          </ac:spMkLst>
        </pc:spChg>
      </pc:sldChg>
      <pc:sldChg chg="modSp add">
        <pc:chgData name="Zenos Zenica" userId="de3ee720dba36952" providerId="Windows Live" clId="Web-{87EC33F8-20F9-4A9B-8B0C-47C86D280FAD}" dt="2020-11-23T13:37:42.845" v="3249" actId="20577"/>
        <pc:sldMkLst>
          <pc:docMk/>
          <pc:sldMk cId="3730906223" sldId="382"/>
        </pc:sldMkLst>
        <pc:spChg chg="mod">
          <ac:chgData name="Zenos Zenica" userId="de3ee720dba36952" providerId="Windows Live" clId="Web-{87EC33F8-20F9-4A9B-8B0C-47C86D280FAD}" dt="2020-11-23T13:37:42.845" v="3249" actId="20577"/>
          <ac:spMkLst>
            <pc:docMk/>
            <pc:sldMk cId="3730906223" sldId="382"/>
            <ac:spMk id="4" creationId="{B8CB9108-1583-4A1C-846B-3263D00D0833}"/>
          </ac:spMkLst>
        </pc:spChg>
        <pc:spChg chg="mod">
          <ac:chgData name="Zenos Zenica" userId="de3ee720dba36952" providerId="Windows Live" clId="Web-{87EC33F8-20F9-4A9B-8B0C-47C86D280FAD}" dt="2020-11-23T13:35:59.468" v="3222" actId="1076"/>
          <ac:spMkLst>
            <pc:docMk/>
            <pc:sldMk cId="3730906223" sldId="382"/>
            <ac:spMk id="63" creationId="{090A32C1-11C9-4E5B-8E18-7B19ECEEF201}"/>
          </ac:spMkLst>
        </pc:spChg>
        <pc:spChg chg="mod">
          <ac:chgData name="Zenos Zenica" userId="de3ee720dba36952" providerId="Windows Live" clId="Web-{87EC33F8-20F9-4A9B-8B0C-47C86D280FAD}" dt="2020-11-23T13:35:25.873" v="3215" actId="1076"/>
          <ac:spMkLst>
            <pc:docMk/>
            <pc:sldMk cId="3730906223" sldId="382"/>
            <ac:spMk id="64" creationId="{DF9B471D-2D31-4257-87A0-9702833E1C64}"/>
          </ac:spMkLst>
        </pc:spChg>
        <pc:spChg chg="mod">
          <ac:chgData name="Zenos Zenica" userId="de3ee720dba36952" providerId="Windows Live" clId="Web-{87EC33F8-20F9-4A9B-8B0C-47C86D280FAD}" dt="2020-11-23T13:36:04.530" v="3223" actId="1076"/>
          <ac:spMkLst>
            <pc:docMk/>
            <pc:sldMk cId="3730906223" sldId="382"/>
            <ac:spMk id="66" creationId="{6A9CA847-1C3D-45E5-9C4F-D5433FA6AEF5}"/>
          </ac:spMkLst>
        </pc:spChg>
        <pc:spChg chg="mod">
          <ac:chgData name="Zenos Zenica" userId="de3ee720dba36952" providerId="Windows Live" clId="Web-{87EC33F8-20F9-4A9B-8B0C-47C86D280FAD}" dt="2020-11-23T13:36:44.703" v="3234" actId="20577"/>
          <ac:spMkLst>
            <pc:docMk/>
            <pc:sldMk cId="3730906223" sldId="382"/>
            <ac:spMk id="67" creationId="{DF46AECD-160B-43F4-BBF2-A6B450C361AB}"/>
          </ac:spMkLst>
        </pc:spChg>
        <pc:spChg chg="mod">
          <ac:chgData name="Zenos Zenica" userId="de3ee720dba36952" providerId="Windows Live" clId="Web-{87EC33F8-20F9-4A9B-8B0C-47C86D280FAD}" dt="2020-11-23T13:36:51.203" v="3237" actId="1076"/>
          <ac:spMkLst>
            <pc:docMk/>
            <pc:sldMk cId="3730906223" sldId="382"/>
            <ac:spMk id="69" creationId="{E38030BA-FEEE-4C86-85F0-81F39C8E24D7}"/>
          </ac:spMkLst>
        </pc:spChg>
        <pc:spChg chg="mod">
          <ac:chgData name="Zenos Zenica" userId="de3ee720dba36952" providerId="Windows Live" clId="Web-{87EC33F8-20F9-4A9B-8B0C-47C86D280FAD}" dt="2020-11-23T13:37:12.454" v="3240" actId="1076"/>
          <ac:spMkLst>
            <pc:docMk/>
            <pc:sldMk cId="3730906223" sldId="382"/>
            <ac:spMk id="70" creationId="{89C24A82-1F5E-4E90-8368-81AE7A79BCA4}"/>
          </ac:spMkLst>
        </pc:spChg>
        <pc:grpChg chg="mod">
          <ac:chgData name="Zenos Zenica" userId="de3ee720dba36952" providerId="Windows Live" clId="Web-{87EC33F8-20F9-4A9B-8B0C-47C86D280FAD}" dt="2020-11-23T13:34:54.231" v="3205" actId="1076"/>
          <ac:grpSpMkLst>
            <pc:docMk/>
            <pc:sldMk cId="3730906223" sldId="382"/>
            <ac:grpSpMk id="5" creationId="{37CB6D36-4C3D-45A7-A36D-042A32271E56}"/>
          </ac:grpSpMkLst>
        </pc:grpChg>
      </pc:sldChg>
      <pc:sldChg chg="modSp add">
        <pc:chgData name="Zenos Zenica" userId="de3ee720dba36952" providerId="Windows Live" clId="Web-{87EC33F8-20F9-4A9B-8B0C-47C86D280FAD}" dt="2020-11-23T13:45:12.405" v="3359" actId="1076"/>
        <pc:sldMkLst>
          <pc:docMk/>
          <pc:sldMk cId="555467006" sldId="383"/>
        </pc:sldMkLst>
        <pc:spChg chg="mod">
          <ac:chgData name="Zenos Zenica" userId="de3ee720dba36952" providerId="Windows Live" clId="Web-{87EC33F8-20F9-4A9B-8B0C-47C86D280FAD}" dt="2020-11-23T13:45:12.405" v="3359" actId="1076"/>
          <ac:spMkLst>
            <pc:docMk/>
            <pc:sldMk cId="555467006" sldId="383"/>
            <ac:spMk id="4" creationId="{B8CB9108-1583-4A1C-846B-3263D00D0833}"/>
          </ac:spMkLst>
        </pc:spChg>
        <pc:spChg chg="mod">
          <ac:chgData name="Zenos Zenica" userId="de3ee720dba36952" providerId="Windows Live" clId="Web-{87EC33F8-20F9-4A9B-8B0C-47C86D280FAD}" dt="2020-11-23T13:44:23.794" v="3347" actId="1076"/>
          <ac:spMkLst>
            <pc:docMk/>
            <pc:sldMk cId="555467006" sldId="383"/>
            <ac:spMk id="68" creationId="{4C178A3B-186B-4F5B-A13F-89D47B3955CE}"/>
          </ac:spMkLst>
        </pc:spChg>
        <pc:spChg chg="mod">
          <ac:chgData name="Zenos Zenica" userId="de3ee720dba36952" providerId="Windows Live" clId="Web-{87EC33F8-20F9-4A9B-8B0C-47C86D280FAD}" dt="2020-11-23T13:44:19.981" v="3346" actId="1076"/>
          <ac:spMkLst>
            <pc:docMk/>
            <pc:sldMk cId="555467006" sldId="383"/>
            <ac:spMk id="71" creationId="{02E605D7-241B-4C88-9438-1300EB47C0F2}"/>
          </ac:spMkLst>
        </pc:spChg>
        <pc:spChg chg="mod">
          <ac:chgData name="Zenos Zenica" userId="de3ee720dba36952" providerId="Windows Live" clId="Web-{87EC33F8-20F9-4A9B-8B0C-47C86D280FAD}" dt="2020-11-23T13:44:15.809" v="3345" actId="1076"/>
          <ac:spMkLst>
            <pc:docMk/>
            <pc:sldMk cId="555467006" sldId="383"/>
            <ac:spMk id="72" creationId="{55FF8A2F-2739-4B2B-8F20-1475B64E1D35}"/>
          </ac:spMkLst>
        </pc:spChg>
        <pc:grpChg chg="mod">
          <ac:chgData name="Zenos Zenica" userId="de3ee720dba36952" providerId="Windows Live" clId="Web-{87EC33F8-20F9-4A9B-8B0C-47C86D280FAD}" dt="2020-11-23T13:43:51.153" v="3339" actId="14100"/>
          <ac:grpSpMkLst>
            <pc:docMk/>
            <pc:sldMk cId="555467006" sldId="383"/>
            <ac:grpSpMk id="7" creationId="{3D5012A7-9541-40B7-91B7-F89B38B3DA02}"/>
          </ac:grpSpMkLst>
        </pc:grpChg>
      </pc:sldChg>
      <pc:sldChg chg="modSp add">
        <pc:chgData name="Zenos Zenica" userId="de3ee720dba36952" providerId="Windows Live" clId="Web-{87EC33F8-20F9-4A9B-8B0C-47C86D280FAD}" dt="2020-11-23T13:45:42.859" v="3388"/>
        <pc:sldMkLst>
          <pc:docMk/>
          <pc:sldMk cId="4174632747" sldId="384"/>
        </pc:sldMkLst>
        <pc:spChg chg="mod">
          <ac:chgData name="Zenos Zenica" userId="de3ee720dba36952" providerId="Windows Live" clId="Web-{87EC33F8-20F9-4A9B-8B0C-47C86D280FAD}" dt="2020-11-23T13:45:29.358" v="3365" actId="14100"/>
          <ac:spMkLst>
            <pc:docMk/>
            <pc:sldMk cId="4174632747" sldId="384"/>
            <ac:spMk id="4" creationId="{B8CB9108-1583-4A1C-846B-3263D00D0833}"/>
          </ac:spMkLst>
        </pc:spChg>
        <pc:spChg chg="mod">
          <ac:chgData name="Zenos Zenica" userId="de3ee720dba36952" providerId="Windows Live" clId="Web-{87EC33F8-20F9-4A9B-8B0C-47C86D280FAD}" dt="2020-11-23T13:45:42.546" v="3366"/>
          <ac:spMkLst>
            <pc:docMk/>
            <pc:sldMk cId="4174632747" sldId="384"/>
            <ac:spMk id="22" creationId="{E4B66A95-D654-43EA-80E1-38CC105C151F}"/>
          </ac:spMkLst>
        </pc:spChg>
        <pc:spChg chg="mod">
          <ac:chgData name="Zenos Zenica" userId="de3ee720dba36952" providerId="Windows Live" clId="Web-{87EC33F8-20F9-4A9B-8B0C-47C86D280FAD}" dt="2020-11-23T13:45:42.562" v="3367"/>
          <ac:spMkLst>
            <pc:docMk/>
            <pc:sldMk cId="4174632747" sldId="384"/>
            <ac:spMk id="35" creationId="{7442D6C5-DB40-45E0-9B08-31DF2805A2FF}"/>
          </ac:spMkLst>
        </pc:spChg>
        <pc:spChg chg="mod">
          <ac:chgData name="Zenos Zenica" userId="de3ee720dba36952" providerId="Windows Live" clId="Web-{87EC33F8-20F9-4A9B-8B0C-47C86D280FAD}" dt="2020-11-23T13:45:42.593" v="3368"/>
          <ac:spMkLst>
            <pc:docMk/>
            <pc:sldMk cId="4174632747" sldId="384"/>
            <ac:spMk id="36" creationId="{C1BE49CB-7129-4538-ACD6-2A72AE5EC5FC}"/>
          </ac:spMkLst>
        </pc:spChg>
        <pc:spChg chg="mod">
          <ac:chgData name="Zenos Zenica" userId="de3ee720dba36952" providerId="Windows Live" clId="Web-{87EC33F8-20F9-4A9B-8B0C-47C86D280FAD}" dt="2020-11-23T13:45:42.609" v="3369"/>
          <ac:spMkLst>
            <pc:docMk/>
            <pc:sldMk cId="4174632747" sldId="384"/>
            <ac:spMk id="37" creationId="{B3845CA6-FE40-468E-84EF-B544B7323DE2}"/>
          </ac:spMkLst>
        </pc:spChg>
        <pc:spChg chg="mod">
          <ac:chgData name="Zenos Zenica" userId="de3ee720dba36952" providerId="Windows Live" clId="Web-{87EC33F8-20F9-4A9B-8B0C-47C86D280FAD}" dt="2020-11-23T13:45:42.640" v="3370"/>
          <ac:spMkLst>
            <pc:docMk/>
            <pc:sldMk cId="4174632747" sldId="384"/>
            <ac:spMk id="38" creationId="{158A44F4-BE30-4C85-88F1-F39BDC01810A}"/>
          </ac:spMkLst>
        </pc:spChg>
        <pc:spChg chg="mod">
          <ac:chgData name="Zenos Zenica" userId="de3ee720dba36952" providerId="Windows Live" clId="Web-{87EC33F8-20F9-4A9B-8B0C-47C86D280FAD}" dt="2020-11-23T13:45:42.656" v="3371"/>
          <ac:spMkLst>
            <pc:docMk/>
            <pc:sldMk cId="4174632747" sldId="384"/>
            <ac:spMk id="39" creationId="{91485255-9400-4F1C-B104-8CF92688DF50}"/>
          </ac:spMkLst>
        </pc:spChg>
        <pc:spChg chg="mod">
          <ac:chgData name="Zenos Zenica" userId="de3ee720dba36952" providerId="Windows Live" clId="Web-{87EC33F8-20F9-4A9B-8B0C-47C86D280FAD}" dt="2020-11-23T13:45:42.671" v="3372"/>
          <ac:spMkLst>
            <pc:docMk/>
            <pc:sldMk cId="4174632747" sldId="384"/>
            <ac:spMk id="40" creationId="{7703EE77-9BA1-4056-AE15-DBAEBE2071E9}"/>
          </ac:spMkLst>
        </pc:spChg>
        <pc:spChg chg="mod">
          <ac:chgData name="Zenos Zenica" userId="de3ee720dba36952" providerId="Windows Live" clId="Web-{87EC33F8-20F9-4A9B-8B0C-47C86D280FAD}" dt="2020-11-23T13:45:42.702" v="3373"/>
          <ac:spMkLst>
            <pc:docMk/>
            <pc:sldMk cId="4174632747" sldId="384"/>
            <ac:spMk id="41" creationId="{507D20F4-78ED-4CFE-9978-4830087A5916}"/>
          </ac:spMkLst>
        </pc:spChg>
        <pc:spChg chg="mod">
          <ac:chgData name="Zenos Zenica" userId="de3ee720dba36952" providerId="Windows Live" clId="Web-{87EC33F8-20F9-4A9B-8B0C-47C86D280FAD}" dt="2020-11-23T13:45:42.702" v="3374"/>
          <ac:spMkLst>
            <pc:docMk/>
            <pc:sldMk cId="4174632747" sldId="384"/>
            <ac:spMk id="42" creationId="{67686590-C4FF-4F64-9189-C9A9E843A6E0}"/>
          </ac:spMkLst>
        </pc:spChg>
        <pc:spChg chg="mod">
          <ac:chgData name="Zenos Zenica" userId="de3ee720dba36952" providerId="Windows Live" clId="Web-{87EC33F8-20F9-4A9B-8B0C-47C86D280FAD}" dt="2020-11-23T13:45:42.718" v="3375"/>
          <ac:spMkLst>
            <pc:docMk/>
            <pc:sldMk cId="4174632747" sldId="384"/>
            <ac:spMk id="43" creationId="{AAD62CF3-10D6-4A44-A78A-C28D416FC7FE}"/>
          </ac:spMkLst>
        </pc:spChg>
        <pc:spChg chg="mod">
          <ac:chgData name="Zenos Zenica" userId="de3ee720dba36952" providerId="Windows Live" clId="Web-{87EC33F8-20F9-4A9B-8B0C-47C86D280FAD}" dt="2020-11-23T13:45:42.734" v="3376"/>
          <ac:spMkLst>
            <pc:docMk/>
            <pc:sldMk cId="4174632747" sldId="384"/>
            <ac:spMk id="44" creationId="{61D4D171-72E0-42A9-A19D-295F8F7D2A48}"/>
          </ac:spMkLst>
        </pc:spChg>
        <pc:spChg chg="mod">
          <ac:chgData name="Zenos Zenica" userId="de3ee720dba36952" providerId="Windows Live" clId="Web-{87EC33F8-20F9-4A9B-8B0C-47C86D280FAD}" dt="2020-11-23T13:45:42.734" v="3377"/>
          <ac:spMkLst>
            <pc:docMk/>
            <pc:sldMk cId="4174632747" sldId="384"/>
            <ac:spMk id="45" creationId="{9CAF8C97-3835-4EA6-B18D-3646BCC60F4F}"/>
          </ac:spMkLst>
        </pc:spChg>
        <pc:spChg chg="mod">
          <ac:chgData name="Zenos Zenica" userId="de3ee720dba36952" providerId="Windows Live" clId="Web-{87EC33F8-20F9-4A9B-8B0C-47C86D280FAD}" dt="2020-11-23T13:45:42.749" v="3378"/>
          <ac:spMkLst>
            <pc:docMk/>
            <pc:sldMk cId="4174632747" sldId="384"/>
            <ac:spMk id="46" creationId="{C44F0BA4-6F0A-4E6C-A6E8-F464941BEB25}"/>
          </ac:spMkLst>
        </pc:spChg>
        <pc:spChg chg="mod">
          <ac:chgData name="Zenos Zenica" userId="de3ee720dba36952" providerId="Windows Live" clId="Web-{87EC33F8-20F9-4A9B-8B0C-47C86D280FAD}" dt="2020-11-23T13:45:42.765" v="3379"/>
          <ac:spMkLst>
            <pc:docMk/>
            <pc:sldMk cId="4174632747" sldId="384"/>
            <ac:spMk id="47" creationId="{04F3E5A4-5FCD-4757-ADD3-B1DF04258E9E}"/>
          </ac:spMkLst>
        </pc:spChg>
        <pc:spChg chg="mod">
          <ac:chgData name="Zenos Zenica" userId="de3ee720dba36952" providerId="Windows Live" clId="Web-{87EC33F8-20F9-4A9B-8B0C-47C86D280FAD}" dt="2020-11-23T13:45:42.765" v="3380"/>
          <ac:spMkLst>
            <pc:docMk/>
            <pc:sldMk cId="4174632747" sldId="384"/>
            <ac:spMk id="48" creationId="{F8841DF6-E419-4E6A-A29B-98DFC9605C1F}"/>
          </ac:spMkLst>
        </pc:spChg>
        <pc:spChg chg="mod">
          <ac:chgData name="Zenos Zenica" userId="de3ee720dba36952" providerId="Windows Live" clId="Web-{87EC33F8-20F9-4A9B-8B0C-47C86D280FAD}" dt="2020-11-23T13:45:42.781" v="3381"/>
          <ac:spMkLst>
            <pc:docMk/>
            <pc:sldMk cId="4174632747" sldId="384"/>
            <ac:spMk id="49" creationId="{50A92525-86A1-40EA-826E-8D9D1ECA95DB}"/>
          </ac:spMkLst>
        </pc:spChg>
        <pc:spChg chg="mod">
          <ac:chgData name="Zenos Zenica" userId="de3ee720dba36952" providerId="Windows Live" clId="Web-{87EC33F8-20F9-4A9B-8B0C-47C86D280FAD}" dt="2020-11-23T13:45:42.796" v="3382"/>
          <ac:spMkLst>
            <pc:docMk/>
            <pc:sldMk cId="4174632747" sldId="384"/>
            <ac:spMk id="50" creationId="{0E7235BF-4B45-439B-B230-26D0F9055693}"/>
          </ac:spMkLst>
        </pc:spChg>
        <pc:spChg chg="mod">
          <ac:chgData name="Zenos Zenica" userId="de3ee720dba36952" providerId="Windows Live" clId="Web-{87EC33F8-20F9-4A9B-8B0C-47C86D280FAD}" dt="2020-11-23T13:45:42.796" v="3383"/>
          <ac:spMkLst>
            <pc:docMk/>
            <pc:sldMk cId="4174632747" sldId="384"/>
            <ac:spMk id="51" creationId="{437B0A34-5B92-4B02-AB25-5D7C3FCDEDA4}"/>
          </ac:spMkLst>
        </pc:spChg>
        <pc:spChg chg="mod">
          <ac:chgData name="Zenos Zenica" userId="de3ee720dba36952" providerId="Windows Live" clId="Web-{87EC33F8-20F9-4A9B-8B0C-47C86D280FAD}" dt="2020-11-23T13:45:42.812" v="3384"/>
          <ac:spMkLst>
            <pc:docMk/>
            <pc:sldMk cId="4174632747" sldId="384"/>
            <ac:spMk id="53" creationId="{4E79DDAA-2D4D-447E-BBAA-883C7E0D2CC9}"/>
          </ac:spMkLst>
        </pc:spChg>
        <pc:spChg chg="mod">
          <ac:chgData name="Zenos Zenica" userId="de3ee720dba36952" providerId="Windows Live" clId="Web-{87EC33F8-20F9-4A9B-8B0C-47C86D280FAD}" dt="2020-11-23T13:45:42.827" v="3385"/>
          <ac:spMkLst>
            <pc:docMk/>
            <pc:sldMk cId="4174632747" sldId="384"/>
            <ac:spMk id="55" creationId="{1D5B14D5-CE68-4515-A196-24A70F7D6D21}"/>
          </ac:spMkLst>
        </pc:spChg>
        <pc:spChg chg="mod">
          <ac:chgData name="Zenos Zenica" userId="de3ee720dba36952" providerId="Windows Live" clId="Web-{87EC33F8-20F9-4A9B-8B0C-47C86D280FAD}" dt="2020-11-23T13:45:42.827" v="3386"/>
          <ac:spMkLst>
            <pc:docMk/>
            <pc:sldMk cId="4174632747" sldId="384"/>
            <ac:spMk id="57" creationId="{4D6AECCD-62E8-4EFB-94F4-3D92B0888DEE}"/>
          </ac:spMkLst>
        </pc:spChg>
        <pc:spChg chg="mod">
          <ac:chgData name="Zenos Zenica" userId="de3ee720dba36952" providerId="Windows Live" clId="Web-{87EC33F8-20F9-4A9B-8B0C-47C86D280FAD}" dt="2020-11-23T13:45:42.843" v="3387"/>
          <ac:spMkLst>
            <pc:docMk/>
            <pc:sldMk cId="4174632747" sldId="384"/>
            <ac:spMk id="59" creationId="{DE4507BB-C188-4784-9874-5CDBC3F09A61}"/>
          </ac:spMkLst>
        </pc:spChg>
        <pc:spChg chg="mod">
          <ac:chgData name="Zenos Zenica" userId="de3ee720dba36952" providerId="Windows Live" clId="Web-{87EC33F8-20F9-4A9B-8B0C-47C86D280FAD}" dt="2020-11-23T13:45:42.859" v="3388"/>
          <ac:spMkLst>
            <pc:docMk/>
            <pc:sldMk cId="4174632747" sldId="384"/>
            <ac:spMk id="61" creationId="{BA6CD509-1097-470E-8B93-628628669957}"/>
          </ac:spMkLst>
        </pc:spChg>
      </pc:sldChg>
      <pc:sldChg chg="add">
        <pc:chgData name="Zenos Zenica" userId="de3ee720dba36952" providerId="Windows Live" clId="Web-{87EC33F8-20F9-4A9B-8B0C-47C86D280FAD}" dt="2020-11-23T11:56:53.132" v="1570"/>
        <pc:sldMkLst>
          <pc:docMk/>
          <pc:sldMk cId="3720050404" sldId="385"/>
        </pc:sldMkLst>
      </pc:sldChg>
      <pc:sldChg chg="modSp add">
        <pc:chgData name="Zenos Zenica" userId="de3ee720dba36952" providerId="Windows Live" clId="Web-{87EC33F8-20F9-4A9B-8B0C-47C86D280FAD}" dt="2020-11-23T12:59:21.188" v="2586"/>
        <pc:sldMkLst>
          <pc:docMk/>
          <pc:sldMk cId="520614005" sldId="386"/>
        </pc:sldMkLst>
        <pc:spChg chg="mod">
          <ac:chgData name="Zenos Zenica" userId="de3ee720dba36952" providerId="Windows Live" clId="Web-{87EC33F8-20F9-4A9B-8B0C-47C86D280FAD}" dt="2020-11-23T12:56:49.406" v="2554" actId="20577"/>
          <ac:spMkLst>
            <pc:docMk/>
            <pc:sldMk cId="520614005" sldId="386"/>
            <ac:spMk id="4" creationId="{B8CB9108-1583-4A1C-846B-3263D00D0833}"/>
          </ac:spMkLst>
        </pc:spChg>
        <pc:graphicFrameChg chg="mod modGraphic">
          <ac:chgData name="Zenos Zenica" userId="de3ee720dba36952" providerId="Windows Live" clId="Web-{87EC33F8-20F9-4A9B-8B0C-47C86D280FAD}" dt="2020-11-23T12:59:21.188" v="2586"/>
          <ac:graphicFrameMkLst>
            <pc:docMk/>
            <pc:sldMk cId="520614005" sldId="386"/>
            <ac:graphicFrameMk id="3" creationId="{C1559540-4AE0-4200-867B-8DF9AE0D32A0}"/>
          </ac:graphicFrameMkLst>
        </pc:graphicFrameChg>
      </pc:sldChg>
      <pc:sldChg chg="add del">
        <pc:chgData name="Zenos Zenica" userId="de3ee720dba36952" providerId="Windows Live" clId="Web-{87EC33F8-20F9-4A9B-8B0C-47C86D280FAD}" dt="2020-11-23T13:29:49.223" v="3120"/>
        <pc:sldMkLst>
          <pc:docMk/>
          <pc:sldMk cId="352624858" sldId="387"/>
        </pc:sldMkLst>
      </pc:sldChg>
      <pc:sldChg chg="add del">
        <pc:chgData name="Zenos Zenica" userId="de3ee720dba36952" providerId="Windows Live" clId="Web-{87EC33F8-20F9-4A9B-8B0C-47C86D280FAD}" dt="2020-11-23T13:29:26.707" v="3116"/>
        <pc:sldMkLst>
          <pc:docMk/>
          <pc:sldMk cId="3038238164" sldId="387"/>
        </pc:sldMkLst>
      </pc:sldChg>
      <pc:sldChg chg="modSp add">
        <pc:chgData name="Zenos Zenica" userId="de3ee720dba36952" providerId="Windows Live" clId="Web-{87EC33F8-20F9-4A9B-8B0C-47C86D280FAD}" dt="2020-11-23T13:53:20.496" v="3430" actId="1076"/>
        <pc:sldMkLst>
          <pc:docMk/>
          <pc:sldMk cId="3367601027" sldId="387"/>
        </pc:sldMkLst>
        <pc:spChg chg="mod">
          <ac:chgData name="Zenos Zenica" userId="de3ee720dba36952" providerId="Windows Live" clId="Web-{87EC33F8-20F9-4A9B-8B0C-47C86D280FAD}" dt="2020-11-23T13:52:19.167" v="3402" actId="20577"/>
          <ac:spMkLst>
            <pc:docMk/>
            <pc:sldMk cId="3367601027" sldId="387"/>
            <ac:spMk id="4" creationId="{B8CB9108-1583-4A1C-846B-3263D00D0833}"/>
          </ac:spMkLst>
        </pc:spChg>
        <pc:spChg chg="mod">
          <ac:chgData name="Zenos Zenica" userId="de3ee720dba36952" providerId="Windows Live" clId="Web-{87EC33F8-20F9-4A9B-8B0C-47C86D280FAD}" dt="2020-11-23T13:53:20.496" v="3430" actId="1076"/>
          <ac:spMkLst>
            <pc:docMk/>
            <pc:sldMk cId="3367601027" sldId="387"/>
            <ac:spMk id="10" creationId="{A06627C5-88FD-435D-BB87-B92048E4396C}"/>
          </ac:spMkLst>
        </pc:spChg>
        <pc:spChg chg="mod">
          <ac:chgData name="Zenos Zenica" userId="de3ee720dba36952" providerId="Windows Live" clId="Web-{87EC33F8-20F9-4A9B-8B0C-47C86D280FAD}" dt="2020-11-23T13:52:29.198" v="3404"/>
          <ac:spMkLst>
            <pc:docMk/>
            <pc:sldMk cId="3367601027" sldId="387"/>
            <ac:spMk id="15" creationId="{526B4135-23D6-4306-8400-BB39290940B0}"/>
          </ac:spMkLst>
        </pc:spChg>
        <pc:spChg chg="mod">
          <ac:chgData name="Zenos Zenica" userId="de3ee720dba36952" providerId="Windows Live" clId="Web-{87EC33F8-20F9-4A9B-8B0C-47C86D280FAD}" dt="2020-11-23T13:53:11.887" v="3428" actId="1076"/>
          <ac:spMkLst>
            <pc:docMk/>
            <pc:sldMk cId="3367601027" sldId="387"/>
            <ac:spMk id="27" creationId="{EF53EEEF-79F1-4264-B7C1-76A10BA92A62}"/>
          </ac:spMkLst>
        </pc:spChg>
        <pc:spChg chg="mod">
          <ac:chgData name="Zenos Zenica" userId="de3ee720dba36952" providerId="Windows Live" clId="Web-{87EC33F8-20F9-4A9B-8B0C-47C86D280FAD}" dt="2020-11-23T13:53:00.652" v="3426" actId="1076"/>
          <ac:spMkLst>
            <pc:docMk/>
            <pc:sldMk cId="3367601027" sldId="387"/>
            <ac:spMk id="28" creationId="{30C7381B-19C1-4ECB-BEA3-DE9F770B261C}"/>
          </ac:spMkLst>
        </pc:spChg>
        <pc:spChg chg="mod">
          <ac:chgData name="Zenos Zenica" userId="de3ee720dba36952" providerId="Windows Live" clId="Web-{87EC33F8-20F9-4A9B-8B0C-47C86D280FAD}" dt="2020-11-23T13:52:29.229" v="3405"/>
          <ac:spMkLst>
            <pc:docMk/>
            <pc:sldMk cId="3367601027" sldId="387"/>
            <ac:spMk id="30" creationId="{A88E5632-6724-4CC5-B3FB-CEE38EF09E12}"/>
          </ac:spMkLst>
        </pc:spChg>
        <pc:spChg chg="mod">
          <ac:chgData name="Zenos Zenica" userId="de3ee720dba36952" providerId="Windows Live" clId="Web-{87EC33F8-20F9-4A9B-8B0C-47C86D280FAD}" dt="2020-11-23T13:52:29.261" v="3406"/>
          <ac:spMkLst>
            <pc:docMk/>
            <pc:sldMk cId="3367601027" sldId="387"/>
            <ac:spMk id="31" creationId="{531FB429-A8ED-42D6-ACF6-984197945835}"/>
          </ac:spMkLst>
        </pc:spChg>
        <pc:spChg chg="mod">
          <ac:chgData name="Zenos Zenica" userId="de3ee720dba36952" providerId="Windows Live" clId="Web-{87EC33F8-20F9-4A9B-8B0C-47C86D280FAD}" dt="2020-11-23T13:52:29.292" v="3407"/>
          <ac:spMkLst>
            <pc:docMk/>
            <pc:sldMk cId="3367601027" sldId="387"/>
            <ac:spMk id="32" creationId="{B443DE50-BA9B-460A-A652-D0F8510F1834}"/>
          </ac:spMkLst>
        </pc:spChg>
        <pc:spChg chg="mod">
          <ac:chgData name="Zenos Zenica" userId="de3ee720dba36952" providerId="Windows Live" clId="Web-{87EC33F8-20F9-4A9B-8B0C-47C86D280FAD}" dt="2020-11-23T13:52:29.323" v="3408"/>
          <ac:spMkLst>
            <pc:docMk/>
            <pc:sldMk cId="3367601027" sldId="387"/>
            <ac:spMk id="33" creationId="{50327453-A0C8-4C9C-A723-F5A62964C464}"/>
          </ac:spMkLst>
        </pc:spChg>
        <pc:spChg chg="mod">
          <ac:chgData name="Zenos Zenica" userId="de3ee720dba36952" providerId="Windows Live" clId="Web-{87EC33F8-20F9-4A9B-8B0C-47C86D280FAD}" dt="2020-11-23T13:52:29.354" v="3409"/>
          <ac:spMkLst>
            <pc:docMk/>
            <pc:sldMk cId="3367601027" sldId="387"/>
            <ac:spMk id="34" creationId="{537DCA4C-4D2D-4D1D-AE30-09FF1596835C}"/>
          </ac:spMkLst>
        </pc:spChg>
        <pc:spChg chg="mod">
          <ac:chgData name="Zenos Zenica" userId="de3ee720dba36952" providerId="Windows Live" clId="Web-{87EC33F8-20F9-4A9B-8B0C-47C86D280FAD}" dt="2020-11-23T13:52:29.636" v="3420"/>
          <ac:spMkLst>
            <pc:docMk/>
            <pc:sldMk cId="3367601027" sldId="387"/>
            <ac:spMk id="35" creationId="{8A4B0004-94E4-4748-A797-4D663671AD6C}"/>
          </ac:spMkLst>
        </pc:spChg>
        <pc:spChg chg="mod">
          <ac:chgData name="Zenos Zenica" userId="de3ee720dba36952" providerId="Windows Live" clId="Web-{87EC33F8-20F9-4A9B-8B0C-47C86D280FAD}" dt="2020-11-23T13:52:29.651" v="3421"/>
          <ac:spMkLst>
            <pc:docMk/>
            <pc:sldMk cId="3367601027" sldId="387"/>
            <ac:spMk id="36" creationId="{CC71196F-2C0B-4DCD-9E00-FC75CF1AD994}"/>
          </ac:spMkLst>
        </pc:spChg>
        <pc:spChg chg="mod">
          <ac:chgData name="Zenos Zenica" userId="de3ee720dba36952" providerId="Windows Live" clId="Web-{87EC33F8-20F9-4A9B-8B0C-47C86D280FAD}" dt="2020-11-23T13:52:29.667" v="3422"/>
          <ac:spMkLst>
            <pc:docMk/>
            <pc:sldMk cId="3367601027" sldId="387"/>
            <ac:spMk id="37" creationId="{4A73DF15-608B-4BC8-98BD-F90F6B33AD29}"/>
          </ac:spMkLst>
        </pc:spChg>
        <pc:spChg chg="mod">
          <ac:chgData name="Zenos Zenica" userId="de3ee720dba36952" providerId="Windows Live" clId="Web-{87EC33F8-20F9-4A9B-8B0C-47C86D280FAD}" dt="2020-11-23T13:52:29.682" v="3423"/>
          <ac:spMkLst>
            <pc:docMk/>
            <pc:sldMk cId="3367601027" sldId="387"/>
            <ac:spMk id="39" creationId="{6F8CC65D-E60B-48B9-B839-B5188A172BAD}"/>
          </ac:spMkLst>
        </pc:spChg>
        <pc:spChg chg="mod">
          <ac:chgData name="Zenos Zenica" userId="de3ee720dba36952" providerId="Windows Live" clId="Web-{87EC33F8-20F9-4A9B-8B0C-47C86D280FAD}" dt="2020-11-23T13:52:29.698" v="3424"/>
          <ac:spMkLst>
            <pc:docMk/>
            <pc:sldMk cId="3367601027" sldId="387"/>
            <ac:spMk id="40" creationId="{6CF10598-6013-4248-ACD6-86B7163CCC06}"/>
          </ac:spMkLst>
        </pc:spChg>
        <pc:spChg chg="mod">
          <ac:chgData name="Zenos Zenica" userId="de3ee720dba36952" providerId="Windows Live" clId="Web-{87EC33F8-20F9-4A9B-8B0C-47C86D280FAD}" dt="2020-11-23T13:52:29.401" v="3410"/>
          <ac:spMkLst>
            <pc:docMk/>
            <pc:sldMk cId="3367601027" sldId="387"/>
            <ac:spMk id="52" creationId="{D21437F2-7788-475D-A847-654AFFC9E153}"/>
          </ac:spMkLst>
        </pc:spChg>
        <pc:spChg chg="mod">
          <ac:chgData name="Zenos Zenica" userId="de3ee720dba36952" providerId="Windows Live" clId="Web-{87EC33F8-20F9-4A9B-8B0C-47C86D280FAD}" dt="2020-11-23T13:52:29.432" v="3411"/>
          <ac:spMkLst>
            <pc:docMk/>
            <pc:sldMk cId="3367601027" sldId="387"/>
            <ac:spMk id="54" creationId="{2C2C73FE-884C-46E1-A7CB-4A65BC769DEA}"/>
          </ac:spMkLst>
        </pc:spChg>
        <pc:spChg chg="mod">
          <ac:chgData name="Zenos Zenica" userId="de3ee720dba36952" providerId="Windows Live" clId="Web-{87EC33F8-20F9-4A9B-8B0C-47C86D280FAD}" dt="2020-11-23T13:52:29.464" v="3412"/>
          <ac:spMkLst>
            <pc:docMk/>
            <pc:sldMk cId="3367601027" sldId="387"/>
            <ac:spMk id="56" creationId="{6C78DFA9-BB51-4F51-9F88-BAF6956964B1}"/>
          </ac:spMkLst>
        </pc:spChg>
        <pc:spChg chg="mod">
          <ac:chgData name="Zenos Zenica" userId="de3ee720dba36952" providerId="Windows Live" clId="Web-{87EC33F8-20F9-4A9B-8B0C-47C86D280FAD}" dt="2020-11-23T13:52:29.495" v="3413"/>
          <ac:spMkLst>
            <pc:docMk/>
            <pc:sldMk cId="3367601027" sldId="387"/>
            <ac:spMk id="58" creationId="{63DD5497-D8F0-4473-B27A-7281CAA7F43F}"/>
          </ac:spMkLst>
        </pc:spChg>
        <pc:spChg chg="mod">
          <ac:chgData name="Zenos Zenica" userId="de3ee720dba36952" providerId="Windows Live" clId="Web-{87EC33F8-20F9-4A9B-8B0C-47C86D280FAD}" dt="2020-11-23T13:52:29.511" v="3414"/>
          <ac:spMkLst>
            <pc:docMk/>
            <pc:sldMk cId="3367601027" sldId="387"/>
            <ac:spMk id="60" creationId="{E8BB1ED0-F2B0-4475-95CD-4B2E132753CB}"/>
          </ac:spMkLst>
        </pc:spChg>
        <pc:spChg chg="mod">
          <ac:chgData name="Zenos Zenica" userId="de3ee720dba36952" providerId="Windows Live" clId="Web-{87EC33F8-20F9-4A9B-8B0C-47C86D280FAD}" dt="2020-11-23T13:52:29.557" v="3415"/>
          <ac:spMkLst>
            <pc:docMk/>
            <pc:sldMk cId="3367601027" sldId="387"/>
            <ac:spMk id="62" creationId="{65B2C7D8-E80F-4A1E-817F-D0ED9661347A}"/>
          </ac:spMkLst>
        </pc:spChg>
        <pc:spChg chg="mod">
          <ac:chgData name="Zenos Zenica" userId="de3ee720dba36952" providerId="Windows Live" clId="Web-{87EC33F8-20F9-4A9B-8B0C-47C86D280FAD}" dt="2020-11-23T13:52:29.589" v="3416"/>
          <ac:spMkLst>
            <pc:docMk/>
            <pc:sldMk cId="3367601027" sldId="387"/>
            <ac:spMk id="63" creationId="{19159016-EDE8-4FC2-8ED1-3166DAD0A143}"/>
          </ac:spMkLst>
        </pc:spChg>
      </pc:sldChg>
      <pc:sldChg chg="modSp add">
        <pc:chgData name="Zenos Zenica" userId="de3ee720dba36952" providerId="Windows Live" clId="Web-{87EC33F8-20F9-4A9B-8B0C-47C86D280FAD}" dt="2020-11-23T13:53:55.154" v="3449"/>
        <pc:sldMkLst>
          <pc:docMk/>
          <pc:sldMk cId="364719658" sldId="388"/>
        </pc:sldMkLst>
        <pc:spChg chg="mod">
          <ac:chgData name="Zenos Zenica" userId="de3ee720dba36952" providerId="Windows Live" clId="Web-{87EC33F8-20F9-4A9B-8B0C-47C86D280FAD}" dt="2020-11-23T13:53:44.888" v="3437" actId="1076"/>
          <ac:spMkLst>
            <pc:docMk/>
            <pc:sldMk cId="364719658" sldId="388"/>
            <ac:spMk id="4" creationId="{B8CB9108-1583-4A1C-846B-3263D00D0833}"/>
          </ac:spMkLst>
        </pc:spChg>
        <pc:spChg chg="mod">
          <ac:chgData name="Zenos Zenica" userId="de3ee720dba36952" providerId="Windows Live" clId="Web-{87EC33F8-20F9-4A9B-8B0C-47C86D280FAD}" dt="2020-11-23T13:53:54.997" v="3438"/>
          <ac:spMkLst>
            <pc:docMk/>
            <pc:sldMk cId="364719658" sldId="388"/>
            <ac:spMk id="66" creationId="{4BDB9038-0C3C-45F5-9807-93F150471EA9}"/>
          </ac:spMkLst>
        </pc:spChg>
        <pc:spChg chg="mod">
          <ac:chgData name="Zenos Zenica" userId="de3ee720dba36952" providerId="Windows Live" clId="Web-{87EC33F8-20F9-4A9B-8B0C-47C86D280FAD}" dt="2020-11-23T13:53:55.013" v="3439"/>
          <ac:spMkLst>
            <pc:docMk/>
            <pc:sldMk cId="364719658" sldId="388"/>
            <ac:spMk id="67" creationId="{C214A02F-34E0-452E-84EF-D2ED0290BFB8}"/>
          </ac:spMkLst>
        </pc:spChg>
        <pc:spChg chg="mod">
          <ac:chgData name="Zenos Zenica" userId="de3ee720dba36952" providerId="Windows Live" clId="Web-{87EC33F8-20F9-4A9B-8B0C-47C86D280FAD}" dt="2020-11-23T13:53:55.029" v="3440"/>
          <ac:spMkLst>
            <pc:docMk/>
            <pc:sldMk cId="364719658" sldId="388"/>
            <ac:spMk id="68" creationId="{668596EC-B052-4373-AAB3-926755114F2D}"/>
          </ac:spMkLst>
        </pc:spChg>
        <pc:spChg chg="mod">
          <ac:chgData name="Zenos Zenica" userId="de3ee720dba36952" providerId="Windows Live" clId="Web-{87EC33F8-20F9-4A9B-8B0C-47C86D280FAD}" dt="2020-11-23T13:53:55.044" v="3441"/>
          <ac:spMkLst>
            <pc:docMk/>
            <pc:sldMk cId="364719658" sldId="388"/>
            <ac:spMk id="69" creationId="{137038A8-095B-4F12-B618-A83D07635F06}"/>
          </ac:spMkLst>
        </pc:spChg>
        <pc:spChg chg="mod">
          <ac:chgData name="Zenos Zenica" userId="de3ee720dba36952" providerId="Windows Live" clId="Web-{87EC33F8-20F9-4A9B-8B0C-47C86D280FAD}" dt="2020-11-23T13:53:55.060" v="3442"/>
          <ac:spMkLst>
            <pc:docMk/>
            <pc:sldMk cId="364719658" sldId="388"/>
            <ac:spMk id="70" creationId="{80C32724-4FB7-44FC-BA7A-F584A81CF91B}"/>
          </ac:spMkLst>
        </pc:spChg>
        <pc:spChg chg="mod">
          <ac:chgData name="Zenos Zenica" userId="de3ee720dba36952" providerId="Windows Live" clId="Web-{87EC33F8-20F9-4A9B-8B0C-47C86D280FAD}" dt="2020-11-23T13:53:55.075" v="3443"/>
          <ac:spMkLst>
            <pc:docMk/>
            <pc:sldMk cId="364719658" sldId="388"/>
            <ac:spMk id="71" creationId="{A040C607-6976-45CD-8963-0302E006F692}"/>
          </ac:spMkLst>
        </pc:spChg>
        <pc:spChg chg="mod">
          <ac:chgData name="Zenos Zenica" userId="de3ee720dba36952" providerId="Windows Live" clId="Web-{87EC33F8-20F9-4A9B-8B0C-47C86D280FAD}" dt="2020-11-23T13:53:55.091" v="3444"/>
          <ac:spMkLst>
            <pc:docMk/>
            <pc:sldMk cId="364719658" sldId="388"/>
            <ac:spMk id="72" creationId="{68EAEF29-F9B8-4195-93ED-C9C63581AFBB}"/>
          </ac:spMkLst>
        </pc:spChg>
        <pc:spChg chg="mod">
          <ac:chgData name="Zenos Zenica" userId="de3ee720dba36952" providerId="Windows Live" clId="Web-{87EC33F8-20F9-4A9B-8B0C-47C86D280FAD}" dt="2020-11-23T13:53:55.107" v="3445"/>
          <ac:spMkLst>
            <pc:docMk/>
            <pc:sldMk cId="364719658" sldId="388"/>
            <ac:spMk id="73" creationId="{6C3A1E9A-2274-45FC-979C-00A786B7ACB7}"/>
          </ac:spMkLst>
        </pc:spChg>
        <pc:spChg chg="mod">
          <ac:chgData name="Zenos Zenica" userId="de3ee720dba36952" providerId="Windows Live" clId="Web-{87EC33F8-20F9-4A9B-8B0C-47C86D280FAD}" dt="2020-11-23T13:53:55.107" v="3446"/>
          <ac:spMkLst>
            <pc:docMk/>
            <pc:sldMk cId="364719658" sldId="388"/>
            <ac:spMk id="74" creationId="{76830284-E2DD-490C-B1C5-02A4F0AEFD8C}"/>
          </ac:spMkLst>
        </pc:spChg>
        <pc:spChg chg="mod">
          <ac:chgData name="Zenos Zenica" userId="de3ee720dba36952" providerId="Windows Live" clId="Web-{87EC33F8-20F9-4A9B-8B0C-47C86D280FAD}" dt="2020-11-23T13:53:55.122" v="3447"/>
          <ac:spMkLst>
            <pc:docMk/>
            <pc:sldMk cId="364719658" sldId="388"/>
            <ac:spMk id="75" creationId="{EAD05D6E-DC3E-43DE-B19D-9D2DFB7B2E6F}"/>
          </ac:spMkLst>
        </pc:spChg>
        <pc:spChg chg="mod">
          <ac:chgData name="Zenos Zenica" userId="de3ee720dba36952" providerId="Windows Live" clId="Web-{87EC33F8-20F9-4A9B-8B0C-47C86D280FAD}" dt="2020-11-23T13:53:55.138" v="3448"/>
          <ac:spMkLst>
            <pc:docMk/>
            <pc:sldMk cId="364719658" sldId="388"/>
            <ac:spMk id="76" creationId="{055A1FD5-0306-4806-976C-61DD24969DAF}"/>
          </ac:spMkLst>
        </pc:spChg>
        <pc:spChg chg="mod">
          <ac:chgData name="Zenos Zenica" userId="de3ee720dba36952" providerId="Windows Live" clId="Web-{87EC33F8-20F9-4A9B-8B0C-47C86D280FAD}" dt="2020-11-23T13:53:55.154" v="3449"/>
          <ac:spMkLst>
            <pc:docMk/>
            <pc:sldMk cId="364719658" sldId="388"/>
            <ac:spMk id="77" creationId="{114DB682-C71F-4AAC-A332-DB42F2F3753C}"/>
          </ac:spMkLst>
        </pc:spChg>
      </pc:sldChg>
      <pc:sldChg chg="modSp add">
        <pc:chgData name="Zenos Zenica" userId="de3ee720dba36952" providerId="Windows Live" clId="Web-{87EC33F8-20F9-4A9B-8B0C-47C86D280FAD}" dt="2020-11-23T13:54:22.154" v="3453" actId="20577"/>
        <pc:sldMkLst>
          <pc:docMk/>
          <pc:sldMk cId="574872604" sldId="389"/>
        </pc:sldMkLst>
        <pc:spChg chg="mod">
          <ac:chgData name="Zenos Zenica" userId="de3ee720dba36952" providerId="Windows Live" clId="Web-{87EC33F8-20F9-4A9B-8B0C-47C86D280FAD}" dt="2020-11-23T13:54:22.154" v="3453" actId="20577"/>
          <ac:spMkLst>
            <pc:docMk/>
            <pc:sldMk cId="574872604" sldId="389"/>
            <ac:spMk id="4" creationId="{B8CB9108-1583-4A1C-846B-3263D00D0833}"/>
          </ac:spMkLst>
        </pc:spChg>
      </pc:sldChg>
      <pc:sldChg chg="modSp add">
        <pc:chgData name="Zenos Zenica" userId="de3ee720dba36952" providerId="Windows Live" clId="Web-{87EC33F8-20F9-4A9B-8B0C-47C86D280FAD}" dt="2020-11-23T13:54:52.624" v="3464"/>
        <pc:sldMkLst>
          <pc:docMk/>
          <pc:sldMk cId="847728907" sldId="390"/>
        </pc:sldMkLst>
        <pc:spChg chg="mod">
          <ac:chgData name="Zenos Zenica" userId="de3ee720dba36952" providerId="Windows Live" clId="Web-{87EC33F8-20F9-4A9B-8B0C-47C86D280FAD}" dt="2020-11-23T13:54:44.046" v="3460" actId="14100"/>
          <ac:spMkLst>
            <pc:docMk/>
            <pc:sldMk cId="847728907" sldId="390"/>
            <ac:spMk id="4" creationId="{B8CB9108-1583-4A1C-846B-3263D00D0833}"/>
          </ac:spMkLst>
        </pc:spChg>
        <pc:spChg chg="mod">
          <ac:chgData name="Zenos Zenica" userId="de3ee720dba36952" providerId="Windows Live" clId="Web-{87EC33F8-20F9-4A9B-8B0C-47C86D280FAD}" dt="2020-11-23T13:54:52.593" v="3461"/>
          <ac:spMkLst>
            <pc:docMk/>
            <pc:sldMk cId="847728907" sldId="390"/>
            <ac:spMk id="31" creationId="{787A516F-3FB2-47F1-84A0-CDACB19D7E2C}"/>
          </ac:spMkLst>
        </pc:spChg>
        <pc:spChg chg="mod">
          <ac:chgData name="Zenos Zenica" userId="de3ee720dba36952" providerId="Windows Live" clId="Web-{87EC33F8-20F9-4A9B-8B0C-47C86D280FAD}" dt="2020-11-23T13:54:52.608" v="3462"/>
          <ac:spMkLst>
            <pc:docMk/>
            <pc:sldMk cId="847728907" sldId="390"/>
            <ac:spMk id="32" creationId="{2F6B44A6-77D0-4EB5-BAFA-BC46403239DE}"/>
          </ac:spMkLst>
        </pc:spChg>
        <pc:spChg chg="mod">
          <ac:chgData name="Zenos Zenica" userId="de3ee720dba36952" providerId="Windows Live" clId="Web-{87EC33F8-20F9-4A9B-8B0C-47C86D280FAD}" dt="2020-11-23T13:54:52.608" v="3463"/>
          <ac:spMkLst>
            <pc:docMk/>
            <pc:sldMk cId="847728907" sldId="390"/>
            <ac:spMk id="33" creationId="{75FDE408-36C2-4CE8-B11C-EB4902BAF4FC}"/>
          </ac:spMkLst>
        </pc:spChg>
        <pc:spChg chg="mod">
          <ac:chgData name="Zenos Zenica" userId="de3ee720dba36952" providerId="Windows Live" clId="Web-{87EC33F8-20F9-4A9B-8B0C-47C86D280FAD}" dt="2020-11-23T13:54:52.624" v="3464"/>
          <ac:spMkLst>
            <pc:docMk/>
            <pc:sldMk cId="847728907" sldId="390"/>
            <ac:spMk id="34" creationId="{85A6F7ED-C858-45F7-8C46-0E53E78CC4A7}"/>
          </ac:spMkLst>
        </pc:spChg>
      </pc:sldChg>
      <pc:sldChg chg="modSp add">
        <pc:chgData name="Zenos Zenica" userId="de3ee720dba36952" providerId="Windows Live" clId="Web-{87EC33F8-20F9-4A9B-8B0C-47C86D280FAD}" dt="2020-11-23T13:58:53.943" v="3514" actId="14100"/>
        <pc:sldMkLst>
          <pc:docMk/>
          <pc:sldMk cId="2683792818" sldId="391"/>
        </pc:sldMkLst>
        <pc:spChg chg="mod">
          <ac:chgData name="Zenos Zenica" userId="de3ee720dba36952" providerId="Windows Live" clId="Web-{87EC33F8-20F9-4A9B-8B0C-47C86D280FAD}" dt="2020-11-23T13:55:12.390" v="3465"/>
          <ac:spMkLst>
            <pc:docMk/>
            <pc:sldMk cId="2683792818" sldId="391"/>
            <ac:spMk id="13" creationId="{0BACE9AF-7F41-4D15-9F3F-792178534ADA}"/>
          </ac:spMkLst>
        </pc:spChg>
        <pc:spChg chg="mod">
          <ac:chgData name="Zenos Zenica" userId="de3ee720dba36952" providerId="Windows Live" clId="Web-{87EC33F8-20F9-4A9B-8B0C-47C86D280FAD}" dt="2020-11-23T13:55:12.421" v="3466"/>
          <ac:spMkLst>
            <pc:docMk/>
            <pc:sldMk cId="2683792818" sldId="391"/>
            <ac:spMk id="14" creationId="{E2D48363-1742-4AFD-89EE-C92CE506C8FD}"/>
          </ac:spMkLst>
        </pc:spChg>
        <pc:spChg chg="mod">
          <ac:chgData name="Zenos Zenica" userId="de3ee720dba36952" providerId="Windows Live" clId="Web-{87EC33F8-20F9-4A9B-8B0C-47C86D280FAD}" dt="2020-11-23T13:55:12.437" v="3467"/>
          <ac:spMkLst>
            <pc:docMk/>
            <pc:sldMk cId="2683792818" sldId="391"/>
            <ac:spMk id="15" creationId="{D1DF5FD1-97C5-4D75-85FE-11D5D8129B0C}"/>
          </ac:spMkLst>
        </pc:spChg>
        <pc:spChg chg="mod">
          <ac:chgData name="Zenos Zenica" userId="de3ee720dba36952" providerId="Windows Live" clId="Web-{87EC33F8-20F9-4A9B-8B0C-47C86D280FAD}" dt="2020-11-23T13:55:12.453" v="3468"/>
          <ac:spMkLst>
            <pc:docMk/>
            <pc:sldMk cId="2683792818" sldId="391"/>
            <ac:spMk id="16" creationId="{8C7C11BD-21C7-43E4-B7F4-A19810321CD6}"/>
          </ac:spMkLst>
        </pc:spChg>
        <pc:spChg chg="mod">
          <ac:chgData name="Zenos Zenica" userId="de3ee720dba36952" providerId="Windows Live" clId="Web-{87EC33F8-20F9-4A9B-8B0C-47C86D280FAD}" dt="2020-11-23T13:55:12.484" v="3469"/>
          <ac:spMkLst>
            <pc:docMk/>
            <pc:sldMk cId="2683792818" sldId="391"/>
            <ac:spMk id="17" creationId="{5E43A55B-40EF-49F0-9F68-1D605C2DBEF1}"/>
          </ac:spMkLst>
        </pc:spChg>
        <pc:spChg chg="mod">
          <ac:chgData name="Zenos Zenica" userId="de3ee720dba36952" providerId="Windows Live" clId="Web-{87EC33F8-20F9-4A9B-8B0C-47C86D280FAD}" dt="2020-11-23T13:55:12.500" v="3470"/>
          <ac:spMkLst>
            <pc:docMk/>
            <pc:sldMk cId="2683792818" sldId="391"/>
            <ac:spMk id="18" creationId="{FEB8FBEE-1E07-47D4-AF2A-6CBE248A557F}"/>
          </ac:spMkLst>
        </pc:spChg>
        <pc:spChg chg="mod">
          <ac:chgData name="Zenos Zenica" userId="de3ee720dba36952" providerId="Windows Live" clId="Web-{87EC33F8-20F9-4A9B-8B0C-47C86D280FAD}" dt="2020-11-23T13:55:12.515" v="3471"/>
          <ac:spMkLst>
            <pc:docMk/>
            <pc:sldMk cId="2683792818" sldId="391"/>
            <ac:spMk id="19" creationId="{33F66BD7-A774-46B7-BA70-A06B6EFD57C9}"/>
          </ac:spMkLst>
        </pc:spChg>
        <pc:spChg chg="mod">
          <ac:chgData name="Zenos Zenica" userId="de3ee720dba36952" providerId="Windows Live" clId="Web-{87EC33F8-20F9-4A9B-8B0C-47C86D280FAD}" dt="2020-11-23T13:55:37.438" v="3493" actId="1076"/>
          <ac:spMkLst>
            <pc:docMk/>
            <pc:sldMk cId="2683792818" sldId="391"/>
            <ac:spMk id="20" creationId="{502AEBD1-80D4-40F3-97AB-3ADAA4B3EB4A}"/>
          </ac:spMkLst>
        </pc:spChg>
        <pc:spChg chg="mod">
          <ac:chgData name="Zenos Zenica" userId="de3ee720dba36952" providerId="Windows Live" clId="Web-{87EC33F8-20F9-4A9B-8B0C-47C86D280FAD}" dt="2020-11-23T13:55:12.562" v="3473"/>
          <ac:spMkLst>
            <pc:docMk/>
            <pc:sldMk cId="2683792818" sldId="391"/>
            <ac:spMk id="21" creationId="{54853689-670C-4AA0-8DE7-5E657961A817}"/>
          </ac:spMkLst>
        </pc:spChg>
        <pc:spChg chg="mod">
          <ac:chgData name="Zenos Zenica" userId="de3ee720dba36952" providerId="Windows Live" clId="Web-{87EC33F8-20F9-4A9B-8B0C-47C86D280FAD}" dt="2020-11-23T13:55:12.578" v="3474"/>
          <ac:spMkLst>
            <pc:docMk/>
            <pc:sldMk cId="2683792818" sldId="391"/>
            <ac:spMk id="22" creationId="{FF6A3ABE-83D1-4F1F-BFF7-EC585C5F4B91}"/>
          </ac:spMkLst>
        </pc:spChg>
        <pc:spChg chg="mod">
          <ac:chgData name="Zenos Zenica" userId="de3ee720dba36952" providerId="Windows Live" clId="Web-{87EC33F8-20F9-4A9B-8B0C-47C86D280FAD}" dt="2020-11-23T13:55:41.641" v="3494" actId="1076"/>
          <ac:spMkLst>
            <pc:docMk/>
            <pc:sldMk cId="2683792818" sldId="391"/>
            <ac:spMk id="23" creationId="{1C910CB4-5F1D-449C-A515-9EA96DA34472}"/>
          </ac:spMkLst>
        </pc:spChg>
        <pc:spChg chg="mod">
          <ac:chgData name="Zenos Zenica" userId="de3ee720dba36952" providerId="Windows Live" clId="Web-{87EC33F8-20F9-4A9B-8B0C-47C86D280FAD}" dt="2020-11-23T13:55:12.625" v="3476"/>
          <ac:spMkLst>
            <pc:docMk/>
            <pc:sldMk cId="2683792818" sldId="391"/>
            <ac:spMk id="25" creationId="{95F273B7-F633-43FB-95F5-033CAE9B6A41}"/>
          </ac:spMkLst>
        </pc:spChg>
        <pc:spChg chg="mod">
          <ac:chgData name="Zenos Zenica" userId="de3ee720dba36952" providerId="Windows Live" clId="Web-{87EC33F8-20F9-4A9B-8B0C-47C86D280FAD}" dt="2020-11-23T13:55:12.640" v="3477"/>
          <ac:spMkLst>
            <pc:docMk/>
            <pc:sldMk cId="2683792818" sldId="391"/>
            <ac:spMk id="26" creationId="{9E64CF08-E778-4F38-AFD2-EC0E68F1C5AD}"/>
          </ac:spMkLst>
        </pc:spChg>
        <pc:spChg chg="mod">
          <ac:chgData name="Zenos Zenica" userId="de3ee720dba36952" providerId="Windows Live" clId="Web-{87EC33F8-20F9-4A9B-8B0C-47C86D280FAD}" dt="2020-11-23T13:55:12.656" v="3478"/>
          <ac:spMkLst>
            <pc:docMk/>
            <pc:sldMk cId="2683792818" sldId="391"/>
            <ac:spMk id="28" creationId="{077607D7-7F26-41A7-AC4B-A92B2785268A}"/>
          </ac:spMkLst>
        </pc:spChg>
        <pc:spChg chg="mod">
          <ac:chgData name="Zenos Zenica" userId="de3ee720dba36952" providerId="Windows Live" clId="Web-{87EC33F8-20F9-4A9B-8B0C-47C86D280FAD}" dt="2020-11-23T13:55:12.687" v="3479"/>
          <ac:spMkLst>
            <pc:docMk/>
            <pc:sldMk cId="2683792818" sldId="391"/>
            <ac:spMk id="29" creationId="{85A83096-DF76-4356-97D7-EC0ADBB28862}"/>
          </ac:spMkLst>
        </pc:spChg>
        <pc:spChg chg="mod">
          <ac:chgData name="Zenos Zenica" userId="de3ee720dba36952" providerId="Windows Live" clId="Web-{87EC33F8-20F9-4A9B-8B0C-47C86D280FAD}" dt="2020-11-23T13:58:53.881" v="3511" actId="14100"/>
          <ac:spMkLst>
            <pc:docMk/>
            <pc:sldMk cId="2683792818" sldId="391"/>
            <ac:spMk id="31" creationId="{787A516F-3FB2-47F1-84A0-CDACB19D7E2C}"/>
          </ac:spMkLst>
        </pc:spChg>
        <pc:spChg chg="mod">
          <ac:chgData name="Zenos Zenica" userId="de3ee720dba36952" providerId="Windows Live" clId="Web-{87EC33F8-20F9-4A9B-8B0C-47C86D280FAD}" dt="2020-11-23T13:58:53.896" v="3512" actId="14100"/>
          <ac:spMkLst>
            <pc:docMk/>
            <pc:sldMk cId="2683792818" sldId="391"/>
            <ac:spMk id="32" creationId="{2F6B44A6-77D0-4EB5-BAFA-BC46403239DE}"/>
          </ac:spMkLst>
        </pc:spChg>
        <pc:spChg chg="mod">
          <ac:chgData name="Zenos Zenica" userId="de3ee720dba36952" providerId="Windows Live" clId="Web-{87EC33F8-20F9-4A9B-8B0C-47C86D280FAD}" dt="2020-11-23T13:58:53.928" v="3513" actId="14100"/>
          <ac:spMkLst>
            <pc:docMk/>
            <pc:sldMk cId="2683792818" sldId="391"/>
            <ac:spMk id="33" creationId="{75FDE408-36C2-4CE8-B11C-EB4902BAF4FC}"/>
          </ac:spMkLst>
        </pc:spChg>
        <pc:spChg chg="mod">
          <ac:chgData name="Zenos Zenica" userId="de3ee720dba36952" providerId="Windows Live" clId="Web-{87EC33F8-20F9-4A9B-8B0C-47C86D280FAD}" dt="2020-11-23T13:58:53.943" v="3514" actId="14100"/>
          <ac:spMkLst>
            <pc:docMk/>
            <pc:sldMk cId="2683792818" sldId="391"/>
            <ac:spMk id="34" creationId="{85A6F7ED-C858-45F7-8C46-0E53E78CC4A7}"/>
          </ac:spMkLst>
        </pc:spChg>
        <pc:spChg chg="mod">
          <ac:chgData name="Zenos Zenica" userId="de3ee720dba36952" providerId="Windows Live" clId="Web-{87EC33F8-20F9-4A9B-8B0C-47C86D280FAD}" dt="2020-11-23T13:55:12.703" v="3480"/>
          <ac:spMkLst>
            <pc:docMk/>
            <pc:sldMk cId="2683792818" sldId="391"/>
            <ac:spMk id="35" creationId="{CB2C17B0-F551-4135-9ED8-26344AF6ADB3}"/>
          </ac:spMkLst>
        </pc:spChg>
        <pc:spChg chg="mod">
          <ac:chgData name="Zenos Zenica" userId="de3ee720dba36952" providerId="Windows Live" clId="Web-{87EC33F8-20F9-4A9B-8B0C-47C86D280FAD}" dt="2020-11-23T13:55:12.734" v="3481"/>
          <ac:spMkLst>
            <pc:docMk/>
            <pc:sldMk cId="2683792818" sldId="391"/>
            <ac:spMk id="36" creationId="{74CBBA61-D167-4CFE-9C35-9F18001BF992}"/>
          </ac:spMkLst>
        </pc:spChg>
        <pc:spChg chg="mod">
          <ac:chgData name="Zenos Zenica" userId="de3ee720dba36952" providerId="Windows Live" clId="Web-{87EC33F8-20F9-4A9B-8B0C-47C86D280FAD}" dt="2020-11-23T13:55:12.750" v="3482"/>
          <ac:spMkLst>
            <pc:docMk/>
            <pc:sldMk cId="2683792818" sldId="391"/>
            <ac:spMk id="37" creationId="{AA258434-424C-4C3E-B9A5-8CA63008B7B9}"/>
          </ac:spMkLst>
        </pc:spChg>
        <pc:spChg chg="mod">
          <ac:chgData name="Zenos Zenica" userId="de3ee720dba36952" providerId="Windows Live" clId="Web-{87EC33F8-20F9-4A9B-8B0C-47C86D280FAD}" dt="2020-11-23T13:56:24.892" v="3502" actId="1076"/>
          <ac:spMkLst>
            <pc:docMk/>
            <pc:sldMk cId="2683792818" sldId="391"/>
            <ac:spMk id="38" creationId="{69452073-79CA-4F6F-9942-8DEFA5D35732}"/>
          </ac:spMkLst>
        </pc:spChg>
        <pc:spChg chg="mod">
          <ac:chgData name="Zenos Zenica" userId="de3ee720dba36952" providerId="Windows Live" clId="Web-{87EC33F8-20F9-4A9B-8B0C-47C86D280FAD}" dt="2020-11-23T13:55:12.796" v="3484"/>
          <ac:spMkLst>
            <pc:docMk/>
            <pc:sldMk cId="2683792818" sldId="391"/>
            <ac:spMk id="39" creationId="{5D485E5C-9773-4749-B661-88A9CEB1F25D}"/>
          </ac:spMkLst>
        </pc:spChg>
        <pc:spChg chg="mod">
          <ac:chgData name="Zenos Zenica" userId="de3ee720dba36952" providerId="Windows Live" clId="Web-{87EC33F8-20F9-4A9B-8B0C-47C86D280FAD}" dt="2020-11-23T13:55:51.469" v="3496" actId="1076"/>
          <ac:spMkLst>
            <pc:docMk/>
            <pc:sldMk cId="2683792818" sldId="391"/>
            <ac:spMk id="40" creationId="{5C3A15BE-0EFC-42A9-A023-EA77458217E4}"/>
          </ac:spMkLst>
        </pc:spChg>
        <pc:spChg chg="mod">
          <ac:chgData name="Zenos Zenica" userId="de3ee720dba36952" providerId="Windows Live" clId="Web-{87EC33F8-20F9-4A9B-8B0C-47C86D280FAD}" dt="2020-11-23T13:55:59.266" v="3497" actId="1076"/>
          <ac:spMkLst>
            <pc:docMk/>
            <pc:sldMk cId="2683792818" sldId="391"/>
            <ac:spMk id="41" creationId="{3C0D22FB-A412-438A-96BC-80EE73FBC9EF}"/>
          </ac:spMkLst>
        </pc:spChg>
        <pc:spChg chg="mod">
          <ac:chgData name="Zenos Zenica" userId="de3ee720dba36952" providerId="Windows Live" clId="Web-{87EC33F8-20F9-4A9B-8B0C-47C86D280FAD}" dt="2020-11-23T13:55:12.859" v="3487"/>
          <ac:spMkLst>
            <pc:docMk/>
            <pc:sldMk cId="2683792818" sldId="391"/>
            <ac:spMk id="42" creationId="{77064EE9-DD0F-4092-B53F-0E9F2ECFA4CE}"/>
          </ac:spMkLst>
        </pc:spChg>
        <pc:spChg chg="mod">
          <ac:chgData name="Zenos Zenica" userId="de3ee720dba36952" providerId="Windows Live" clId="Web-{87EC33F8-20F9-4A9B-8B0C-47C86D280FAD}" dt="2020-11-23T13:55:12.875" v="3488"/>
          <ac:spMkLst>
            <pc:docMk/>
            <pc:sldMk cId="2683792818" sldId="391"/>
            <ac:spMk id="43" creationId="{818AEE50-C750-49E5-B349-66656EF2FA6A}"/>
          </ac:spMkLst>
        </pc:spChg>
        <pc:spChg chg="mod">
          <ac:chgData name="Zenos Zenica" userId="de3ee720dba36952" providerId="Windows Live" clId="Web-{87EC33F8-20F9-4A9B-8B0C-47C86D280FAD}" dt="2020-11-23T13:55:12.906" v="3489"/>
          <ac:spMkLst>
            <pc:docMk/>
            <pc:sldMk cId="2683792818" sldId="391"/>
            <ac:spMk id="44" creationId="{AED8DEAC-7968-4F02-8C93-52369387BF95}"/>
          </ac:spMkLst>
        </pc:spChg>
        <pc:spChg chg="mod">
          <ac:chgData name="Zenos Zenica" userId="de3ee720dba36952" providerId="Windows Live" clId="Web-{87EC33F8-20F9-4A9B-8B0C-47C86D280FAD}" dt="2020-11-23T13:56:51.596" v="3504" actId="1076"/>
          <ac:spMkLst>
            <pc:docMk/>
            <pc:sldMk cId="2683792818" sldId="391"/>
            <ac:spMk id="45" creationId="{4D24F9B9-66EA-40B2-8EE6-FCBF476897A4}"/>
          </ac:spMkLst>
        </pc:spChg>
        <pc:spChg chg="mod">
          <ac:chgData name="Zenos Zenica" userId="de3ee720dba36952" providerId="Windows Live" clId="Web-{87EC33F8-20F9-4A9B-8B0C-47C86D280FAD}" dt="2020-11-23T13:57:04.128" v="3506" actId="1076"/>
          <ac:spMkLst>
            <pc:docMk/>
            <pc:sldMk cId="2683792818" sldId="391"/>
            <ac:spMk id="46" creationId="{10F4FA76-8FA2-4F55-B622-F3A135FAA57C}"/>
          </ac:spMkLst>
        </pc:spChg>
        <pc:spChg chg="mod">
          <ac:chgData name="Zenos Zenica" userId="de3ee720dba36952" providerId="Windows Live" clId="Web-{87EC33F8-20F9-4A9B-8B0C-47C86D280FAD}" dt="2020-11-23T13:56:03.907" v="3499" actId="20577"/>
          <ac:spMkLst>
            <pc:docMk/>
            <pc:sldMk cId="2683792818" sldId="391"/>
            <ac:spMk id="47" creationId="{499B5E48-05D6-4A5C-A2E5-A600052A9300}"/>
          </ac:spMkLst>
        </pc:spChg>
        <pc:spChg chg="mod">
          <ac:chgData name="Zenos Zenica" userId="de3ee720dba36952" providerId="Windows Live" clId="Web-{87EC33F8-20F9-4A9B-8B0C-47C86D280FAD}" dt="2020-11-23T13:56:55.252" v="3505" actId="1076"/>
          <ac:spMkLst>
            <pc:docMk/>
            <pc:sldMk cId="2683792818" sldId="391"/>
            <ac:spMk id="48" creationId="{53AE72BE-87A5-48C4-A4E3-C02A0854B2ED}"/>
          </ac:spMkLst>
        </pc:spChg>
      </pc:sldChg>
      <pc:sldChg chg="modSp add">
        <pc:chgData name="Zenos Zenica" userId="de3ee720dba36952" providerId="Windows Live" clId="Web-{87EC33F8-20F9-4A9B-8B0C-47C86D280FAD}" dt="2020-11-23T14:02:51.544" v="3558"/>
        <pc:sldMkLst>
          <pc:docMk/>
          <pc:sldMk cId="290454378" sldId="392"/>
        </pc:sldMkLst>
        <pc:spChg chg="mod">
          <ac:chgData name="Zenos Zenica" userId="de3ee720dba36952" providerId="Windows Live" clId="Web-{87EC33F8-20F9-4A9B-8B0C-47C86D280FAD}" dt="2020-11-23T13:59:12.834" v="3519" actId="14100"/>
          <ac:spMkLst>
            <pc:docMk/>
            <pc:sldMk cId="290454378" sldId="392"/>
            <ac:spMk id="8" creationId="{8D3CFE89-0CA2-4EBF-B1F7-AF161C8F15DD}"/>
          </ac:spMkLst>
        </pc:spChg>
        <pc:spChg chg="mod">
          <ac:chgData name="Zenos Zenica" userId="de3ee720dba36952" providerId="Windows Live" clId="Web-{87EC33F8-20F9-4A9B-8B0C-47C86D280FAD}" dt="2020-11-23T13:59:12.866" v="3520" actId="14100"/>
          <ac:spMkLst>
            <pc:docMk/>
            <pc:sldMk cId="290454378" sldId="392"/>
            <ac:spMk id="9" creationId="{893FAEC4-2DB4-429D-8C58-AE0CEF9CEC1A}"/>
          </ac:spMkLst>
        </pc:spChg>
        <pc:spChg chg="mod">
          <ac:chgData name="Zenos Zenica" userId="de3ee720dba36952" providerId="Windows Live" clId="Web-{87EC33F8-20F9-4A9B-8B0C-47C86D280FAD}" dt="2020-11-23T13:59:12.897" v="3521" actId="14100"/>
          <ac:spMkLst>
            <pc:docMk/>
            <pc:sldMk cId="290454378" sldId="392"/>
            <ac:spMk id="10" creationId="{D2D5F525-D269-4C68-B325-230A5E013AE5}"/>
          </ac:spMkLst>
        </pc:spChg>
        <pc:spChg chg="mod">
          <ac:chgData name="Zenos Zenica" userId="de3ee720dba36952" providerId="Windows Live" clId="Web-{87EC33F8-20F9-4A9B-8B0C-47C86D280FAD}" dt="2020-11-23T13:59:12.912" v="3522" actId="14100"/>
          <ac:spMkLst>
            <pc:docMk/>
            <pc:sldMk cId="290454378" sldId="392"/>
            <ac:spMk id="11" creationId="{A210C3BA-4774-44EC-9EF4-4B3AE245BA21}"/>
          </ac:spMkLst>
        </pc:spChg>
        <pc:graphicFrameChg chg="mod modGraphic">
          <ac:chgData name="Zenos Zenica" userId="de3ee720dba36952" providerId="Windows Live" clId="Web-{87EC33F8-20F9-4A9B-8B0C-47C86D280FAD}" dt="2020-11-23T14:02:27.980" v="3554" actId="1076"/>
          <ac:graphicFrameMkLst>
            <pc:docMk/>
            <pc:sldMk cId="290454378" sldId="392"/>
            <ac:graphicFrameMk id="4" creationId="{01C1D72E-FD22-45AD-A30F-785743AB96E4}"/>
          </ac:graphicFrameMkLst>
        </pc:graphicFrameChg>
        <pc:graphicFrameChg chg="mod modGraphic">
          <ac:chgData name="Zenos Zenica" userId="de3ee720dba36952" providerId="Windows Live" clId="Web-{87EC33F8-20F9-4A9B-8B0C-47C86D280FAD}" dt="2020-11-23T14:02:51.544" v="3558"/>
          <ac:graphicFrameMkLst>
            <pc:docMk/>
            <pc:sldMk cId="290454378" sldId="392"/>
            <ac:graphicFrameMk id="49" creationId="{18FF2411-B706-43CD-8727-E0D63D64C286}"/>
          </ac:graphicFrameMkLst>
        </pc:graphicFrameChg>
        <pc:graphicFrameChg chg="mod modGraphic">
          <ac:chgData name="Zenos Zenica" userId="de3ee720dba36952" providerId="Windows Live" clId="Web-{87EC33F8-20F9-4A9B-8B0C-47C86D280FAD}" dt="2020-11-23T14:02:34.277" v="3555" actId="1076"/>
          <ac:graphicFrameMkLst>
            <pc:docMk/>
            <pc:sldMk cId="290454378" sldId="392"/>
            <ac:graphicFrameMk id="50" creationId="{C7E6BFC0-C38F-4248-B6CB-8CA4FC20622C}"/>
          </ac:graphicFrameMkLst>
        </pc:graphicFrameChg>
        <pc:graphicFrameChg chg="mod modGraphic">
          <ac:chgData name="Zenos Zenica" userId="de3ee720dba36952" providerId="Windows Live" clId="Web-{87EC33F8-20F9-4A9B-8B0C-47C86D280FAD}" dt="2020-11-23T14:02:38.465" v="3556" actId="1076"/>
          <ac:graphicFrameMkLst>
            <pc:docMk/>
            <pc:sldMk cId="290454378" sldId="392"/>
            <ac:graphicFrameMk id="51" creationId="{90FEEE21-C77E-4561-B87D-E4130D310B00}"/>
          </ac:graphicFrameMkLst>
        </pc:graphicFrameChg>
      </pc:sldChg>
      <pc:sldChg chg="modSp add">
        <pc:chgData name="Zenos Zenica" userId="de3ee720dba36952" providerId="Windows Live" clId="Web-{87EC33F8-20F9-4A9B-8B0C-47C86D280FAD}" dt="2020-11-23T14:03:29.232" v="3572" actId="20577"/>
        <pc:sldMkLst>
          <pc:docMk/>
          <pc:sldMk cId="1424811875" sldId="393"/>
        </pc:sldMkLst>
        <pc:spChg chg="mod">
          <ac:chgData name="Zenos Zenica" userId="de3ee720dba36952" providerId="Windows Live" clId="Web-{87EC33F8-20F9-4A9B-8B0C-47C86D280FAD}" dt="2020-11-23T14:03:29.232" v="3572" actId="20577"/>
          <ac:spMkLst>
            <pc:docMk/>
            <pc:sldMk cId="1424811875" sldId="393"/>
            <ac:spMk id="9" creationId="{A3617C8A-FFA1-4F4F-B387-8850E94C4F5B}"/>
          </ac:spMkLst>
        </pc:spChg>
        <pc:graphicFrameChg chg="mod modGraphic">
          <ac:chgData name="Zenos Zenica" userId="de3ee720dba36952" providerId="Windows Live" clId="Web-{87EC33F8-20F9-4A9B-8B0C-47C86D280FAD}" dt="2020-11-23T14:03:24.326" v="3562"/>
          <ac:graphicFrameMkLst>
            <pc:docMk/>
            <pc:sldMk cId="1424811875" sldId="393"/>
            <ac:graphicFrameMk id="4" creationId="{01C1D72E-FD22-45AD-A30F-785743AB96E4}"/>
          </ac:graphicFrameMkLst>
        </pc:graphicFrameChg>
      </pc:sldChg>
      <pc:sldChg chg="modSp add">
        <pc:chgData name="Zenos Zenica" userId="de3ee720dba36952" providerId="Windows Live" clId="Web-{87EC33F8-20F9-4A9B-8B0C-47C86D280FAD}" dt="2020-11-23T14:03:58.592" v="3589" actId="20577"/>
        <pc:sldMkLst>
          <pc:docMk/>
          <pc:sldMk cId="2881815514" sldId="394"/>
        </pc:sldMkLst>
        <pc:spChg chg="mod">
          <ac:chgData name="Zenos Zenica" userId="de3ee720dba36952" providerId="Windows Live" clId="Web-{87EC33F8-20F9-4A9B-8B0C-47C86D280FAD}" dt="2020-11-23T14:03:53.155" v="3586" actId="20577"/>
          <ac:spMkLst>
            <pc:docMk/>
            <pc:sldMk cId="2881815514" sldId="394"/>
            <ac:spMk id="11" creationId="{284B7E81-0F34-47C6-AA1A-7902864A1427}"/>
          </ac:spMkLst>
        </pc:spChg>
        <pc:spChg chg="mod">
          <ac:chgData name="Zenos Zenica" userId="de3ee720dba36952" providerId="Windows Live" clId="Web-{87EC33F8-20F9-4A9B-8B0C-47C86D280FAD}" dt="2020-11-23T14:03:38.435" v="3578" actId="20577"/>
          <ac:spMkLst>
            <pc:docMk/>
            <pc:sldMk cId="2881815514" sldId="394"/>
            <ac:spMk id="16" creationId="{E83E83C3-E01A-44F1-95FF-6540BC8C3EAB}"/>
          </ac:spMkLst>
        </pc:spChg>
        <pc:spChg chg="mod">
          <ac:chgData name="Zenos Zenica" userId="de3ee720dba36952" providerId="Windows Live" clId="Web-{87EC33F8-20F9-4A9B-8B0C-47C86D280FAD}" dt="2020-11-23T14:03:58.592" v="3589" actId="20577"/>
          <ac:spMkLst>
            <pc:docMk/>
            <pc:sldMk cId="2881815514" sldId="394"/>
            <ac:spMk id="18" creationId="{D3B4C848-5FA9-4489-8A6B-A6ADD14D0543}"/>
          </ac:spMkLst>
        </pc:spChg>
        <pc:spChg chg="mod">
          <ac:chgData name="Zenos Zenica" userId="de3ee720dba36952" providerId="Windows Live" clId="Web-{87EC33F8-20F9-4A9B-8B0C-47C86D280FAD}" dt="2020-11-23T14:03:48.279" v="3582" actId="20577"/>
          <ac:spMkLst>
            <pc:docMk/>
            <pc:sldMk cId="2881815514" sldId="394"/>
            <ac:spMk id="23" creationId="{40029B10-5D86-4E1D-87FA-6D028723534F}"/>
          </ac:spMkLst>
        </pc:spChg>
      </pc:sldChg>
      <pc:sldChg chg="modSp add">
        <pc:chgData name="Zenos Zenica" userId="de3ee720dba36952" providerId="Windows Live" clId="Web-{87EC33F8-20F9-4A9B-8B0C-47C86D280FAD}" dt="2020-11-23T14:05:46.705" v="3615" actId="1076"/>
        <pc:sldMkLst>
          <pc:docMk/>
          <pc:sldMk cId="1917379913" sldId="395"/>
        </pc:sldMkLst>
        <pc:spChg chg="mod">
          <ac:chgData name="Zenos Zenica" userId="de3ee720dba36952" providerId="Windows Live" clId="Web-{87EC33F8-20F9-4A9B-8B0C-47C86D280FAD}" dt="2020-11-23T14:05:46.705" v="3615" actId="1076"/>
          <ac:spMkLst>
            <pc:docMk/>
            <pc:sldMk cId="1917379913" sldId="395"/>
            <ac:spMk id="16" creationId="{E83E83C3-E01A-44F1-95FF-6540BC8C3EAB}"/>
          </ac:spMkLst>
        </pc:spChg>
        <pc:spChg chg="mod">
          <ac:chgData name="Zenos Zenica" userId="de3ee720dba36952" providerId="Windows Live" clId="Web-{87EC33F8-20F9-4A9B-8B0C-47C86D280FAD}" dt="2020-11-23T14:04:40.828" v="3594" actId="1076"/>
          <ac:spMkLst>
            <pc:docMk/>
            <pc:sldMk cId="1917379913" sldId="395"/>
            <ac:spMk id="17" creationId="{688E9AD6-F413-406F-8F6C-DE04405AD8E5}"/>
          </ac:spMkLst>
        </pc:spChg>
        <pc:spChg chg="mod">
          <ac:chgData name="Zenos Zenica" userId="de3ee720dba36952" providerId="Windows Live" clId="Web-{87EC33F8-20F9-4A9B-8B0C-47C86D280FAD}" dt="2020-11-23T14:04:36.312" v="3593" actId="1076"/>
          <ac:spMkLst>
            <pc:docMk/>
            <pc:sldMk cId="1917379913" sldId="395"/>
            <ac:spMk id="18" creationId="{561D7EE2-D46A-4A5E-B3DB-D326AF94BAFB}"/>
          </ac:spMkLst>
        </pc:spChg>
        <pc:spChg chg="mod">
          <ac:chgData name="Zenos Zenica" userId="de3ee720dba36952" providerId="Windows Live" clId="Web-{87EC33F8-20F9-4A9B-8B0C-47C86D280FAD}" dt="2020-11-23T14:05:05.438" v="3599" actId="1076"/>
          <ac:spMkLst>
            <pc:docMk/>
            <pc:sldMk cId="1917379913" sldId="395"/>
            <ac:spMk id="19" creationId="{CFDF103C-8F33-4927-8D1E-C63A7BDD4D32}"/>
          </ac:spMkLst>
        </pc:spChg>
        <pc:spChg chg="mod">
          <ac:chgData name="Zenos Zenica" userId="de3ee720dba36952" providerId="Windows Live" clId="Web-{87EC33F8-20F9-4A9B-8B0C-47C86D280FAD}" dt="2020-11-23T14:05:12.438" v="3600" actId="1076"/>
          <ac:spMkLst>
            <pc:docMk/>
            <pc:sldMk cId="1917379913" sldId="395"/>
            <ac:spMk id="26" creationId="{46C2998B-3164-4A16-A246-43DFC73A96DF}"/>
          </ac:spMkLst>
        </pc:spChg>
        <pc:spChg chg="mod">
          <ac:chgData name="Zenos Zenica" userId="de3ee720dba36952" providerId="Windows Live" clId="Web-{87EC33F8-20F9-4A9B-8B0C-47C86D280FAD}" dt="2020-11-23T14:05:17.938" v="3601" actId="1076"/>
          <ac:spMkLst>
            <pc:docMk/>
            <pc:sldMk cId="1917379913" sldId="395"/>
            <ac:spMk id="28" creationId="{A380563E-0AF1-4184-965D-5CBD3D87DE74}"/>
          </ac:spMkLst>
        </pc:spChg>
        <pc:spChg chg="mod">
          <ac:chgData name="Zenos Zenica" userId="de3ee720dba36952" providerId="Windows Live" clId="Web-{87EC33F8-20F9-4A9B-8B0C-47C86D280FAD}" dt="2020-11-23T14:04:30.546" v="3592" actId="1076"/>
          <ac:spMkLst>
            <pc:docMk/>
            <pc:sldMk cId="1917379913" sldId="395"/>
            <ac:spMk id="30" creationId="{E86582D1-C360-40E0-B38C-FFE9CEAEE3E2}"/>
          </ac:spMkLst>
        </pc:spChg>
        <pc:spChg chg="mod">
          <ac:chgData name="Zenos Zenica" userId="de3ee720dba36952" providerId="Windows Live" clId="Web-{87EC33F8-20F9-4A9B-8B0C-47C86D280FAD}" dt="2020-11-23T14:04:50.391" v="3596" actId="1076"/>
          <ac:spMkLst>
            <pc:docMk/>
            <pc:sldMk cId="1917379913" sldId="395"/>
            <ac:spMk id="32" creationId="{48DB6A5B-4FD1-44E6-8E89-DF050B6B456D}"/>
          </ac:spMkLst>
        </pc:spChg>
      </pc:sldChg>
      <pc:sldChg chg="modSp add">
        <pc:chgData name="Zenos Zenica" userId="de3ee720dba36952" providerId="Windows Live" clId="Web-{87EC33F8-20F9-4A9B-8B0C-47C86D280FAD}" dt="2020-11-23T14:05:59.955" v="3619" actId="20577"/>
        <pc:sldMkLst>
          <pc:docMk/>
          <pc:sldMk cId="842252253" sldId="396"/>
        </pc:sldMkLst>
        <pc:spChg chg="mod">
          <ac:chgData name="Zenos Zenica" userId="de3ee720dba36952" providerId="Windows Live" clId="Web-{87EC33F8-20F9-4A9B-8B0C-47C86D280FAD}" dt="2020-11-23T14:05:59.955" v="3619" actId="20577"/>
          <ac:spMkLst>
            <pc:docMk/>
            <pc:sldMk cId="842252253" sldId="396"/>
            <ac:spMk id="16" creationId="{E83E83C3-E01A-44F1-95FF-6540BC8C3EAB}"/>
          </ac:spMkLst>
        </pc:spChg>
      </pc:sldChg>
      <pc:sldMasterChg chg="add addSldLayout">
        <pc:chgData name="Zenos Zenica" userId="de3ee720dba36952" providerId="Windows Live" clId="Web-{87EC33F8-20F9-4A9B-8B0C-47C86D280FAD}" dt="2020-11-23T07:54:35.444" v="0"/>
        <pc:sldMasterMkLst>
          <pc:docMk/>
          <pc:sldMasterMk cId="1233805520" sldId="2147483648"/>
        </pc:sldMasterMkLst>
        <pc:sldLayoutChg chg="add">
          <pc:chgData name="Zenos Zenica" userId="de3ee720dba36952" providerId="Windows Live" clId="Web-{87EC33F8-20F9-4A9B-8B0C-47C86D280FAD}" dt="2020-11-23T07:54:35.444" v="0"/>
          <pc:sldLayoutMkLst>
            <pc:docMk/>
            <pc:sldMasterMk cId="1233805520" sldId="2147483648"/>
            <pc:sldLayoutMk cId="642951318" sldId="2147483687"/>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07"/>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10"/>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14"/>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22"/>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34"/>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2"/>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3"/>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4"/>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5"/>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6"/>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7"/>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8"/>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49"/>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50"/>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51"/>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52"/>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0"/>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2"/>
          </pc:sldLayoutMkLst>
        </pc:sldLayoutChg>
        <pc:sldLayoutChg chg="add">
          <pc:chgData name="Zenos Zenica" userId="de3ee720dba36952" providerId="Windows Live" clId="Web-{87EC33F8-20F9-4A9B-8B0C-47C86D280FAD}" dt="2020-11-23T07:54:35.444" v="0"/>
          <pc:sldLayoutMkLst>
            <pc:docMk/>
            <pc:sldMasterMk cId="1233805520" sldId="2147483648"/>
            <pc:sldLayoutMk cId="676221190" sldId="2147483763"/>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4"/>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5"/>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6"/>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7"/>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8"/>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69"/>
          </pc:sldLayoutMkLst>
        </pc:sldLayoutChg>
        <pc:sldLayoutChg chg="add">
          <pc:chgData name="Zenos Zenica" userId="de3ee720dba36952" providerId="Windows Live" clId="Web-{87EC33F8-20F9-4A9B-8B0C-47C86D280FAD}" dt="2020-11-23T07:54:35.444" v="0"/>
          <pc:sldLayoutMkLst>
            <pc:docMk/>
            <pc:sldMasterMk cId="1233805520" sldId="2147483648"/>
            <pc:sldLayoutMk cId="0" sldId="2147483770"/>
          </pc:sldLayoutMkLst>
        </pc:sldLayoutChg>
      </pc:sldMasterChg>
      <pc:sldMasterChg chg="replId">
        <pc:chgData name="Zenos Zenica" userId="de3ee720dba36952" providerId="Windows Live" clId="Web-{87EC33F8-20F9-4A9B-8B0C-47C86D280FAD}" dt="2020-11-23T07:54:35.444" v="0"/>
        <pc:sldMasterMkLst>
          <pc:docMk/>
          <pc:sldMasterMk cId="2527814785" sldId="2147483771"/>
        </pc:sldMasterMkLst>
      </pc:sldMasterChg>
    </pc:docChg>
  </pc:docChgLst>
</pc:chgInfo>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6031209923145062E-2"/>
          <c:w val="0.99625980878847287"/>
          <c:h val="0.96121718115335553"/>
        </c:manualLayout>
      </c:layout>
      <c:bubbleChart>
        <c:varyColors val="0"/>
        <c:ser>
          <c:idx val="0"/>
          <c:order val="0"/>
          <c:spPr>
            <a:solidFill>
              <a:schemeClr val="accent2"/>
            </a:solidFill>
            <a:ln>
              <a:noFill/>
            </a:ln>
            <a:effectLst/>
          </c:spPr>
          <c:invertIfNegative val="0"/>
          <c:xVal>
            <c:numRef>
              <c:f>Tabelle1!$A$1:$A$7</c:f>
              <c:numCache>
                <c:formatCode>General</c:formatCode>
                <c:ptCount val="7"/>
                <c:pt idx="1">
                  <c:v>10</c:v>
                </c:pt>
                <c:pt idx="2">
                  <c:v>40</c:v>
                </c:pt>
                <c:pt idx="3">
                  <c:v>30</c:v>
                </c:pt>
                <c:pt idx="4">
                  <c:v>55</c:v>
                </c:pt>
                <c:pt idx="5">
                  <c:v>50</c:v>
                </c:pt>
                <c:pt idx="6">
                  <c:v>70</c:v>
                </c:pt>
              </c:numCache>
            </c:numRef>
          </c:xVal>
          <c:yVal>
            <c:numRef>
              <c:f>Tabelle1!$B$1:$B$7</c:f>
              <c:numCache>
                <c:formatCode>General</c:formatCode>
                <c:ptCount val="7"/>
                <c:pt idx="0">
                  <c:v>0</c:v>
                </c:pt>
                <c:pt idx="1">
                  <c:v>15</c:v>
                </c:pt>
                <c:pt idx="2">
                  <c:v>45</c:v>
                </c:pt>
                <c:pt idx="3">
                  <c:v>20</c:v>
                </c:pt>
              </c:numCache>
            </c:numRef>
          </c:yVal>
          <c:bubbleSize>
            <c:numRef>
              <c:f>Tabelle1!$C$1:$C$7</c:f>
              <c:numCache>
                <c:formatCode>General</c:formatCode>
                <c:ptCount val="7"/>
                <c:pt idx="0">
                  <c:v>0</c:v>
                </c:pt>
                <c:pt idx="1">
                  <c:v>0.5</c:v>
                </c:pt>
                <c:pt idx="2">
                  <c:v>4</c:v>
                </c:pt>
                <c:pt idx="3">
                  <c:v>1</c:v>
                </c:pt>
              </c:numCache>
            </c:numRef>
          </c:bubbleSize>
          <c:bubble3D val="0"/>
          <c:extLst xmlns:c16r2="http://schemas.microsoft.com/office/drawing/2015/06/chart">
            <c:ext xmlns:c16="http://schemas.microsoft.com/office/drawing/2014/chart" uri="{C3380CC4-5D6E-409C-BE32-E72D297353CC}">
              <c16:uniqueId val="{00000000-D670-44B2-9012-2BE1A9A975C1}"/>
            </c:ext>
          </c:extLst>
        </c:ser>
        <c:ser>
          <c:idx val="1"/>
          <c:order val="1"/>
          <c:spPr>
            <a:solidFill>
              <a:schemeClr val="accent4"/>
            </a:solidFill>
            <a:ln>
              <a:noFill/>
            </a:ln>
            <a:effectLst/>
          </c:spPr>
          <c:invertIfNegative val="0"/>
          <c:xVal>
            <c:numRef>
              <c:f>Tabelle1!$A$1:$A$7</c:f>
              <c:numCache>
                <c:formatCode>General</c:formatCode>
                <c:ptCount val="7"/>
                <c:pt idx="1">
                  <c:v>10</c:v>
                </c:pt>
                <c:pt idx="2">
                  <c:v>40</c:v>
                </c:pt>
                <c:pt idx="3">
                  <c:v>30</c:v>
                </c:pt>
                <c:pt idx="4">
                  <c:v>55</c:v>
                </c:pt>
                <c:pt idx="5">
                  <c:v>50</c:v>
                </c:pt>
                <c:pt idx="6">
                  <c:v>70</c:v>
                </c:pt>
              </c:numCache>
            </c:numRef>
          </c:xVal>
          <c:yVal>
            <c:numRef>
              <c:f>Tabelle1!$D$1:$D$7</c:f>
              <c:numCache>
                <c:formatCode>General</c:formatCode>
                <c:ptCount val="7"/>
                <c:pt idx="0">
                  <c:v>0</c:v>
                </c:pt>
                <c:pt idx="4">
                  <c:v>65</c:v>
                </c:pt>
                <c:pt idx="5">
                  <c:v>30</c:v>
                </c:pt>
                <c:pt idx="6">
                  <c:v>80</c:v>
                </c:pt>
              </c:numCache>
            </c:numRef>
          </c:yVal>
          <c:bubbleSize>
            <c:numRef>
              <c:f>Tabelle1!$E$1:$E$7</c:f>
              <c:numCache>
                <c:formatCode>General</c:formatCode>
                <c:ptCount val="7"/>
                <c:pt idx="0">
                  <c:v>0</c:v>
                </c:pt>
                <c:pt idx="4">
                  <c:v>1.5</c:v>
                </c:pt>
                <c:pt idx="5">
                  <c:v>2.5</c:v>
                </c:pt>
                <c:pt idx="6">
                  <c:v>5</c:v>
                </c:pt>
              </c:numCache>
            </c:numRef>
          </c:bubbleSize>
          <c:bubble3D val="0"/>
          <c:extLst xmlns:c16r2="http://schemas.microsoft.com/office/drawing/2015/06/chart">
            <c:ext xmlns:c16="http://schemas.microsoft.com/office/drawing/2014/chart" uri="{C3380CC4-5D6E-409C-BE32-E72D297353CC}">
              <c16:uniqueId val="{00000001-D670-44B2-9012-2BE1A9A975C1}"/>
            </c:ext>
          </c:extLst>
        </c:ser>
        <c:dLbls>
          <c:showLegendKey val="0"/>
          <c:showVal val="0"/>
          <c:showCatName val="0"/>
          <c:showSerName val="0"/>
          <c:showPercent val="0"/>
          <c:showBubbleSize val="0"/>
        </c:dLbls>
        <c:bubbleScale val="100"/>
        <c:showNegBubbles val="0"/>
        <c:axId val="217561344"/>
        <c:axId val="217567232"/>
      </c:bubbleChart>
      <c:valAx>
        <c:axId val="217561344"/>
        <c:scaling>
          <c:orientation val="minMax"/>
          <c:max val="100"/>
          <c:min val="0"/>
        </c:scaling>
        <c:delete val="1"/>
        <c:axPos val="b"/>
        <c:numFmt formatCode="General" sourceLinked="1"/>
        <c:majorTickMark val="none"/>
        <c:minorTickMark val="none"/>
        <c:tickLblPos val="none"/>
        <c:crossAx val="217567232"/>
        <c:crosses val="autoZero"/>
        <c:crossBetween val="midCat"/>
        <c:majorUnit val="20"/>
      </c:valAx>
      <c:valAx>
        <c:axId val="217567232"/>
        <c:scaling>
          <c:orientation val="minMax"/>
          <c:max val="100"/>
          <c:min val="0"/>
        </c:scaling>
        <c:delete val="1"/>
        <c:axPos val="l"/>
        <c:numFmt formatCode="General" sourceLinked="1"/>
        <c:majorTickMark val="out"/>
        <c:minorTickMark val="none"/>
        <c:tickLblPos val="none"/>
        <c:crossAx val="217561344"/>
        <c:crosses val="autoZero"/>
        <c:crossBetween val="midCat"/>
        <c:majorUnit val="20"/>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b="0">
          <a:solidFill>
            <a:schemeClr val="tx1"/>
          </a:solidFill>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41012908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864123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2367040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94557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1150427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15</a:t>
            </a:fld>
            <a:endParaRPr lang="en-GB" dirty="0"/>
          </a:p>
        </p:txBody>
      </p:sp>
    </p:spTree>
    <p:extLst>
      <p:ext uri="{BB962C8B-B14F-4D97-AF65-F5344CB8AC3E}">
        <p14:creationId xmlns:p14="http://schemas.microsoft.com/office/powerpoint/2010/main" val="2782546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792318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4051779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5577174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2447233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3601798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39111926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29190068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5039778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3069090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29961258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32772556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31105569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42243539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4222905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41558280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13596522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14968497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28863011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41322037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20001676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23620038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38710047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3503101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948107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2357272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823652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823734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2868668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2072993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3837241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3901698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7676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to left - photo on right - NAVY">
    <p:spTree>
      <p:nvGrpSpPr>
        <p:cNvPr id="1" name=""/>
        <p:cNvGrpSpPr/>
        <p:nvPr/>
      </p:nvGrpSpPr>
      <p:grpSpPr>
        <a:xfrm>
          <a:off x="0" y="0"/>
          <a:ext cx="0" cy="0"/>
          <a:chOff x="0" y="0"/>
          <a:chExt cx="0" cy="0"/>
        </a:xfrm>
      </p:grpSpPr>
      <p:sp>
        <p:nvSpPr>
          <p:cNvPr id="13" name="Rectangle 12"/>
          <p:cNvSpPr/>
          <p:nvPr userDrawn="1"/>
        </p:nvSpPr>
        <p:spPr>
          <a:xfrm>
            <a:off x="0" y="-1"/>
            <a:ext cx="12192000" cy="6858001"/>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13"/>
          <p:cNvSpPr/>
          <p:nvPr userDrawn="1"/>
        </p:nvSpPr>
        <p:spPr>
          <a:xfrm>
            <a:off x="424669" y="412421"/>
            <a:ext cx="5666415" cy="2123658"/>
          </a:xfrm>
          <a:prstGeom prst="rect">
            <a:avLst/>
          </a:prstGeom>
        </p:spPr>
        <p:txBody>
          <a:bodyPr wrap="square">
            <a:spAutoFit/>
          </a:bodyPr>
          <a:lstStyle/>
          <a:p>
            <a:pPr fontAlgn="base"/>
            <a:r>
              <a:rPr lang="en-GB" sz="4400" b="0" i="0" u="none" strike="noStrike" kern="1200" dirty="0">
                <a:solidFill>
                  <a:schemeClr val="bg1"/>
                </a:solidFill>
                <a:effectLst/>
                <a:latin typeface="+mn-lt"/>
                <a:ea typeface="+mn-ea"/>
                <a:cs typeface="+mn-cs"/>
              </a:rPr>
              <a:t>WELCOME TO THE </a:t>
            </a:r>
            <a:r>
              <a:rPr lang="en-GB" sz="4400" b="1" i="0" u="none" strike="noStrike" kern="1200" dirty="0">
                <a:solidFill>
                  <a:schemeClr val="bg1"/>
                </a:solidFill>
                <a:effectLst/>
                <a:latin typeface="+mn-lt"/>
                <a:ea typeface="+mn-ea"/>
                <a:cs typeface="+mn-cs"/>
              </a:rPr>
              <a:t>SMART UP </a:t>
            </a:r>
            <a:r>
              <a:rPr lang="en-GB" sz="4400" b="0" i="0" u="none" strike="noStrike" kern="1200" dirty="0">
                <a:solidFill>
                  <a:schemeClr val="bg1"/>
                </a:solidFill>
                <a:effectLst/>
                <a:latin typeface="+mn-lt"/>
                <a:ea typeface="+mn-ea"/>
                <a:cs typeface="+mn-cs"/>
              </a:rPr>
              <a:t>POWERPOINT</a:t>
            </a:r>
            <a:endParaRPr lang="en-GB" sz="3600" baseline="0" dirty="0">
              <a:solidFill>
                <a:schemeClr val="bg1"/>
              </a:solidFill>
              <a:latin typeface="+mn-lt"/>
              <a:ea typeface="Quattrocento Sans"/>
              <a:cs typeface="Quattrocento Sans"/>
              <a:sym typeface="Quattrocento Sans"/>
            </a:endParaRPr>
          </a:p>
        </p:txBody>
      </p:sp>
      <p:sp>
        <p:nvSpPr>
          <p:cNvPr id="15" name="Rectangle 14"/>
          <p:cNvSpPr/>
          <p:nvPr userDrawn="1"/>
        </p:nvSpPr>
        <p:spPr>
          <a:xfrm>
            <a:off x="6680844" y="402213"/>
            <a:ext cx="5260610"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FEATURES OF THE</a:t>
            </a:r>
          </a:p>
          <a:p>
            <a:pPr fontAlgn="base"/>
            <a:r>
              <a:rPr lang="en-GB" sz="3000" b="1" i="0" u="none" strike="noStrike" kern="1200" dirty="0">
                <a:solidFill>
                  <a:schemeClr val="bg1"/>
                </a:solidFill>
                <a:effectLst/>
                <a:latin typeface="+mn-lt"/>
                <a:ea typeface="+mn-ea"/>
                <a:cs typeface="+mn-cs"/>
              </a:rPr>
              <a:t>SMART UP</a:t>
            </a:r>
          </a:p>
          <a:p>
            <a:pPr fontAlgn="base"/>
            <a:r>
              <a:rPr lang="en-GB" sz="3000" b="0" i="0" u="none" strike="noStrike" kern="1200" dirty="0">
                <a:solidFill>
                  <a:schemeClr val="bg1"/>
                </a:solidFill>
                <a:effectLst/>
                <a:latin typeface="+mn-lt"/>
                <a:ea typeface="+mn-ea"/>
                <a:cs typeface="+mn-cs"/>
              </a:rPr>
              <a:t>POWERPOINT:</a:t>
            </a:r>
          </a:p>
          <a:p>
            <a:pPr fontAlgn="base"/>
            <a:endParaRPr lang="en-GB" sz="3000" b="0" i="0" u="none" strike="noStrike" kern="1200" dirty="0">
              <a:solidFill>
                <a:schemeClr val="bg1"/>
              </a:solidFill>
              <a:effectLst/>
              <a:latin typeface="+mn-lt"/>
              <a:ea typeface="+mn-ea"/>
              <a:cs typeface="+mn-cs"/>
            </a:endParaRPr>
          </a:p>
          <a:p>
            <a:pPr marL="342900" indent="-342900" fontAlgn="base">
              <a:buFont typeface="Arial" charset="0"/>
              <a:buChar char="•"/>
            </a:pPr>
            <a:r>
              <a:rPr lang="en-GB" sz="2400" b="0" i="0" u="none" strike="noStrike" kern="1200" dirty="0">
                <a:solidFill>
                  <a:schemeClr val="bg1"/>
                </a:solidFill>
                <a:effectLst/>
                <a:latin typeface="+mn-lt"/>
                <a:ea typeface="+mn-ea"/>
                <a:cs typeface="+mn-cs"/>
              </a:rPr>
              <a:t>Set up in widescreen format. </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using the </a:t>
            </a:r>
            <a:r>
              <a:rPr lang="en-GB" sz="2400" b="1" i="0" u="none" strike="noStrike" kern="1200" dirty="0">
                <a:solidFill>
                  <a:schemeClr val="bg1"/>
                </a:solidFill>
                <a:effectLst/>
                <a:latin typeface="+mn-lt"/>
                <a:ea typeface="+mn-ea"/>
                <a:cs typeface="+mn-cs"/>
              </a:rPr>
              <a:t>SMART UP </a:t>
            </a:r>
            <a:r>
              <a:rPr lang="en-GB" sz="2400" b="0" i="0" u="none" strike="noStrike" kern="1200" dirty="0">
                <a:solidFill>
                  <a:schemeClr val="bg1"/>
                </a:solidFill>
                <a:effectLst/>
                <a:latin typeface="+mn-lt"/>
                <a:ea typeface="+mn-ea"/>
                <a:cs typeface="+mn-cs"/>
              </a:rPr>
              <a:t>Brand Colour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Based on Master Slides design</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Drag and Drop to change picture</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80 easy editable icon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and Fully editable in PowerPoint</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600" b="0" i="0" u="none" strike="noStrike" kern="1200" dirty="0">
                <a:solidFill>
                  <a:schemeClr val="bg1"/>
                </a:solidFill>
                <a:effectLst/>
                <a:latin typeface="+mn-lt"/>
                <a:ea typeface="+mn-ea"/>
                <a:cs typeface="+mn-cs"/>
              </a:rPr>
              <a:t>		</a:t>
            </a:r>
            <a:endParaRPr lang="en-GB" sz="3600" baseline="0" dirty="0">
              <a:solidFill>
                <a:schemeClr val="bg1"/>
              </a:solidFill>
              <a:latin typeface="+mn-lt"/>
              <a:ea typeface="Quattrocento Sans"/>
              <a:cs typeface="Quattrocento Sans"/>
              <a:sym typeface="Quattrocento Sans"/>
            </a:endParaRPr>
          </a:p>
        </p:txBody>
      </p:sp>
      <p:sp>
        <p:nvSpPr>
          <p:cNvPr id="16" name="Rectangle 15"/>
          <p:cNvSpPr/>
          <p:nvPr userDrawn="1"/>
        </p:nvSpPr>
        <p:spPr>
          <a:xfrm>
            <a:off x="424669" y="3027059"/>
            <a:ext cx="6005629" cy="2308324"/>
          </a:xfrm>
          <a:prstGeom prst="rect">
            <a:avLst/>
          </a:prstGeom>
        </p:spPr>
        <p:txBody>
          <a:bodyPr wrap="square">
            <a:spAutoFit/>
          </a:bodyPr>
          <a:lstStyle/>
          <a:p>
            <a:pPr fontAlgn="base"/>
            <a:r>
              <a:rPr lang="en-GB" sz="2400" b="0" i="0" u="none" strike="noStrike" kern="1200" dirty="0">
                <a:solidFill>
                  <a:schemeClr val="bg1"/>
                </a:solidFill>
                <a:effectLst/>
                <a:latin typeface="+mn-lt"/>
                <a:ea typeface="+mn-ea"/>
                <a:cs typeface="+mn-cs"/>
              </a:rPr>
              <a:t>Our aim is to have a consistent “look and feel” throughout our branding material including our PowerPoint.</a:t>
            </a:r>
            <a:r>
              <a:rPr lang="en-GB" sz="2400" b="0" i="0" u="none" strike="noStrike" kern="1200" baseline="0" dirty="0">
                <a:solidFill>
                  <a:schemeClr val="bg1"/>
                </a:solidFill>
                <a:effectLst/>
                <a:latin typeface="+mn-lt"/>
                <a:ea typeface="+mn-ea"/>
                <a:cs typeface="+mn-cs"/>
              </a:rPr>
              <a:t> </a:t>
            </a:r>
            <a:r>
              <a:rPr lang="en-GB" sz="2400" b="0" i="0" u="none" strike="noStrike" kern="1200" dirty="0">
                <a:solidFill>
                  <a:schemeClr val="bg1"/>
                </a:solidFill>
                <a:effectLst/>
                <a:latin typeface="+mn-lt"/>
                <a:ea typeface="+mn-ea"/>
                <a:cs typeface="+mn-cs"/>
              </a:rPr>
              <a:t>The slide layouts within this PowerPoint  will give you a great deal of creative </a:t>
            </a:r>
            <a:r>
              <a:rPr lang="en-GB" sz="2400" b="0" i="0" u="none" strike="noStrike" kern="1200" dirty="0" err="1">
                <a:solidFill>
                  <a:schemeClr val="bg1"/>
                </a:solidFill>
                <a:effectLst/>
                <a:latin typeface="+mn-lt"/>
                <a:ea typeface="+mn-ea"/>
                <a:cs typeface="+mn-cs"/>
              </a:rPr>
              <a:t>flexibily</a:t>
            </a:r>
            <a:r>
              <a:rPr lang="en-GB" sz="2400" b="0" i="0" u="none" strike="noStrike" kern="1200" dirty="0">
                <a:solidFill>
                  <a:schemeClr val="bg1"/>
                </a:solidFill>
                <a:effectLst/>
                <a:latin typeface="+mn-lt"/>
                <a:ea typeface="+mn-ea"/>
                <a:cs typeface="+mn-cs"/>
              </a:rPr>
              <a:t> when creating your Presentation.</a:t>
            </a:r>
            <a:endParaRPr lang="en-GB" sz="3600" baseline="0" dirty="0">
              <a:solidFill>
                <a:schemeClr val="bg1"/>
              </a:solidFill>
              <a:latin typeface="+mn-lt"/>
              <a:ea typeface="Quattrocento Sans"/>
              <a:cs typeface="Quattrocento Sans"/>
              <a:sym typeface="Quattrocento Sans"/>
            </a:endParaRPr>
          </a:p>
        </p:txBody>
      </p:sp>
      <p:cxnSp>
        <p:nvCxnSpPr>
          <p:cNvPr id="17" name="Straight Connector 16"/>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0" y="2880991"/>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nt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p:cNvSpPr/>
          <p:nvPr userDrawn="1"/>
        </p:nvSpPr>
        <p:spPr>
          <a:xfrm>
            <a:off x="424669" y="528535"/>
            <a:ext cx="5666415" cy="1446550"/>
          </a:xfrm>
          <a:prstGeom prst="rect">
            <a:avLst/>
          </a:prstGeom>
        </p:spPr>
        <p:txBody>
          <a:bodyPr wrap="square">
            <a:spAutoFit/>
          </a:bodyPr>
          <a:lstStyle/>
          <a:p>
            <a:pPr fontAlgn="base"/>
            <a:r>
              <a:rPr lang="en-GB" sz="4400" b="1" i="0" u="none" strike="noStrike" kern="1200" baseline="0" dirty="0">
                <a:solidFill>
                  <a:schemeClr val="bg1"/>
                </a:solidFill>
                <a:effectLst/>
                <a:latin typeface="+mn-lt"/>
                <a:ea typeface="+mn-ea"/>
                <a:cs typeface="+mn-cs"/>
                <a:sym typeface="Quattrocento Sans"/>
              </a:rPr>
              <a:t>SMART UP</a:t>
            </a:r>
          </a:p>
          <a:p>
            <a:pPr fontAlgn="base"/>
            <a:r>
              <a:rPr lang="en-GB" sz="4400" b="0" i="0" u="none" strike="noStrike" kern="1200" baseline="0" dirty="0">
                <a:solidFill>
                  <a:schemeClr val="bg1"/>
                </a:solidFill>
                <a:effectLst/>
                <a:latin typeface="+mn-lt"/>
                <a:ea typeface="+mn-ea"/>
                <a:cs typeface="+mn-cs"/>
                <a:sym typeface="Quattrocento Sans"/>
              </a:rPr>
              <a:t>FONT TYPEFACE &amp; SIZE</a:t>
            </a:r>
            <a:endParaRPr lang="en-GB" sz="3600" baseline="0" dirty="0">
              <a:solidFill>
                <a:schemeClr val="bg1"/>
              </a:solidFill>
              <a:latin typeface="+mn-lt"/>
              <a:ea typeface="Quattrocento Sans"/>
              <a:cs typeface="Quattrocento Sans"/>
              <a:sym typeface="Quattrocento Sans"/>
            </a:endParaRPr>
          </a:p>
        </p:txBody>
      </p:sp>
      <p:sp>
        <p:nvSpPr>
          <p:cNvPr id="11" name="Rectangle 10"/>
          <p:cNvSpPr/>
          <p:nvPr userDrawn="1"/>
        </p:nvSpPr>
        <p:spPr>
          <a:xfrm>
            <a:off x="7093974" y="817711"/>
            <a:ext cx="4589207"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PLEASE</a:t>
            </a:r>
            <a:r>
              <a:rPr lang="en-GB" sz="3000" b="0" i="0" u="none" strike="noStrike" kern="1200" baseline="0" dirty="0">
                <a:solidFill>
                  <a:schemeClr val="bg1"/>
                </a:solidFill>
                <a:effectLst/>
                <a:latin typeface="+mn-lt"/>
                <a:ea typeface="+mn-ea"/>
                <a:cs typeface="+mn-cs"/>
              </a:rPr>
              <a:t> ENSURE TO KEEP FONTS AS PER THE LAYOUT</a:t>
            </a:r>
            <a:endParaRPr lang="en-GB" sz="3000" b="0" i="0" u="none" strike="noStrike" kern="1200" dirty="0">
              <a:solidFill>
                <a:schemeClr val="bg1"/>
              </a:solidFill>
              <a:effectLst/>
              <a:latin typeface="+mn-lt"/>
              <a:ea typeface="+mn-ea"/>
              <a:cs typeface="+mn-cs"/>
            </a:endParaRPr>
          </a:p>
          <a:p>
            <a:pPr fontAlgn="base"/>
            <a:endParaRPr lang="en-GB"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GB" sz="3000" b="0" i="0" u="none" strike="noStrike" kern="1200" dirty="0">
                <a:solidFill>
                  <a:schemeClr val="bg1"/>
                </a:solidFill>
                <a:effectLst/>
                <a:latin typeface="+mn-lt"/>
                <a:ea typeface="+mn-ea"/>
                <a:cs typeface="+mn-cs"/>
              </a:rPr>
              <a:t>48 point </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Divider</a:t>
            </a:r>
            <a:r>
              <a:rPr lang="en-GB"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GB"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6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0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	</a:t>
            </a:r>
            <a:r>
              <a:rPr lang="en-GB" sz="3000" b="0" i="0" u="none" strike="noStrike" kern="1200" baseline="0" dirty="0">
                <a:solidFill>
                  <a:schemeClr val="bg1"/>
                </a:solidFill>
                <a:effectLst/>
                <a:latin typeface="+mn-lt"/>
                <a:ea typeface="+mn-ea"/>
                <a:cs typeface="+mn-cs"/>
              </a:rPr>
              <a:t>       </a:t>
            </a:r>
            <a:r>
              <a:rPr lang="en-GB"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24 point</a:t>
            </a:r>
            <a:r>
              <a:rPr lang="en-GB" sz="3000" b="0" i="0" u="none" strike="noStrike" kern="1200" baseline="0" dirty="0">
                <a:solidFill>
                  <a:schemeClr val="bg1"/>
                </a:solidFill>
                <a:effectLst/>
                <a:latin typeface="+mn-lt"/>
                <a:ea typeface="+mn-ea"/>
                <a:cs typeface="+mn-cs"/>
              </a:rPr>
              <a:t>  -  </a:t>
            </a:r>
            <a:r>
              <a:rPr lang="en-GB" sz="3000" b="0" i="0" u="none" strike="noStrike" kern="1200" baseline="0" dirty="0">
                <a:solidFill>
                  <a:schemeClr val="bg1"/>
                </a:solidFill>
                <a:effectLst/>
                <a:latin typeface="+mn-lt"/>
                <a:ea typeface="Quattrocento Sans"/>
                <a:cs typeface="Quattrocento Sans"/>
                <a:sym typeface="Quattrocento Sans"/>
              </a:rPr>
              <a:t>Main </a:t>
            </a:r>
            <a:r>
              <a:rPr lang="en-GB" sz="3000" b="0" i="0" u="none" strike="noStrike" kern="1200" dirty="0">
                <a:solidFill>
                  <a:schemeClr val="bg1"/>
                </a:solidFill>
                <a:effectLst/>
                <a:latin typeface="+mn-lt"/>
                <a:ea typeface="+mn-ea"/>
                <a:cs typeface="+mn-cs"/>
              </a:rPr>
              <a:t>Text Body </a:t>
            </a:r>
            <a:endParaRPr lang="en-GB" sz="3000" dirty="0"/>
          </a:p>
          <a:p>
            <a:pPr fontAlgn="base"/>
            <a:endParaRPr lang="en-GB" sz="3000" b="0" i="0" u="none" strike="noStrike" kern="1200" dirty="0">
              <a:solidFill>
                <a:schemeClr val="bg1"/>
              </a:solidFill>
              <a:effectLst/>
              <a:latin typeface="+mn-lt"/>
              <a:ea typeface="+mn-ea"/>
              <a:cs typeface="+mn-cs"/>
            </a:endParaRPr>
          </a:p>
        </p:txBody>
      </p:sp>
      <p:sp>
        <p:nvSpPr>
          <p:cNvPr id="12" name="Rectangle 11"/>
          <p:cNvSpPr/>
          <p:nvPr userDrawn="1"/>
        </p:nvSpPr>
        <p:spPr>
          <a:xfrm>
            <a:off x="424669" y="3128660"/>
            <a:ext cx="6005160" cy="2123658"/>
          </a:xfrm>
          <a:prstGeom prst="rect">
            <a:avLst/>
          </a:prstGeom>
        </p:spPr>
        <p:txBody>
          <a:bodyPr wrap="square">
            <a:spAutoFit/>
          </a:bodyPr>
          <a:lstStyle/>
          <a:p>
            <a:pPr fontAlgn="base"/>
            <a:r>
              <a:rPr lang="en-GB"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GB" sz="2400" b="1" i="0" u="none" strike="noStrike" kern="1200" baseline="0" dirty="0">
                <a:solidFill>
                  <a:schemeClr val="bg1"/>
                </a:solidFill>
                <a:effectLst/>
                <a:latin typeface="+mn-lt"/>
                <a:ea typeface="+mn-ea"/>
                <a:cs typeface="+mn-cs"/>
                <a:sym typeface="Quattrocento Sans"/>
              </a:rPr>
              <a:t>SMART UP </a:t>
            </a:r>
            <a:r>
              <a:rPr lang="en-GB" sz="2400" b="0" i="0" u="none" strike="noStrike" kern="1200" baseline="0" dirty="0">
                <a:solidFill>
                  <a:schemeClr val="bg1"/>
                </a:solidFill>
                <a:effectLst/>
                <a:latin typeface="+mn-lt"/>
                <a:ea typeface="+mn-ea"/>
                <a:cs typeface="+mn-cs"/>
                <a:sym typeface="Quattrocento Sans"/>
              </a:rPr>
              <a:t>PowerPoint is….</a:t>
            </a:r>
          </a:p>
          <a:p>
            <a:pPr fontAlgn="base"/>
            <a:endParaRPr lang="en-GB" sz="2400" b="0" i="0" u="none" strike="noStrike" kern="1200" baseline="0" dirty="0">
              <a:solidFill>
                <a:schemeClr val="bg1"/>
              </a:solidFill>
              <a:effectLst/>
              <a:latin typeface="+mn-lt"/>
              <a:ea typeface="+mn-ea"/>
              <a:cs typeface="+mn-cs"/>
              <a:sym typeface="Quattrocento Sans"/>
            </a:endParaRPr>
          </a:p>
          <a:p>
            <a:pPr fontAlgn="base"/>
            <a:r>
              <a:rPr lang="en-GB" sz="3600" b="1" i="1" baseline="0" dirty="0">
                <a:solidFill>
                  <a:schemeClr val="bg1"/>
                </a:solidFill>
                <a:latin typeface="+mn-lt"/>
                <a:ea typeface="Quattrocento Sans"/>
                <a:cs typeface="Quattrocento Sans"/>
                <a:sym typeface="Quattrocento Sans"/>
              </a:rPr>
              <a:t>Calibri</a:t>
            </a:r>
            <a:endParaRPr lang="en-GB" sz="3600" baseline="0" dirty="0">
              <a:solidFill>
                <a:schemeClr val="bg1"/>
              </a:solidFill>
              <a:latin typeface="+mn-lt"/>
              <a:ea typeface="Quattrocento Sans"/>
              <a:cs typeface="Quattrocento Sans"/>
              <a:sym typeface="Quattrocento Sans"/>
            </a:endParaRPr>
          </a:p>
        </p:txBody>
      </p:sp>
      <p:cxnSp>
        <p:nvCxnSpPr>
          <p:cNvPr id="13" name="Straight Connector 12"/>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0" y="2503620"/>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5" name="Straight Connector 4"/>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501175" y="505425"/>
            <a:ext cx="4644643" cy="4339650"/>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GB" sz="3600" dirty="0">
                <a:solidFill>
                  <a:schemeClr val="bg1"/>
                </a:solidFill>
                <a:latin typeface="+mn-lt"/>
                <a:ea typeface="Quattrocento Sans"/>
                <a:cs typeface="Quattrocento Sans"/>
                <a:sym typeface="Quattrocento Sans"/>
              </a:rPr>
              <a:t>ICONS</a:t>
            </a:r>
            <a:r>
              <a:rPr lang="en-GB" sz="3600" baseline="0" dirty="0">
                <a:solidFill>
                  <a:schemeClr val="bg1"/>
                </a:solidFill>
                <a:latin typeface="+mn-lt"/>
                <a:ea typeface="Quattrocento Sans"/>
                <a:cs typeface="Quattrocento Sans"/>
                <a:sym typeface="Quattrocento Sans"/>
              </a:rPr>
              <a:t> WHICH CAN BE USED WITHIN THE </a:t>
            </a:r>
            <a:r>
              <a:rPr lang="en-GB" sz="3600" b="1" baseline="0" dirty="0">
                <a:solidFill>
                  <a:schemeClr val="bg1"/>
                </a:solidFill>
                <a:latin typeface="+mn-lt"/>
                <a:ea typeface="Quattrocento Sans"/>
                <a:cs typeface="Quattrocento Sans"/>
                <a:sym typeface="Quattrocento Sans"/>
              </a:rPr>
              <a:t>SMART UP </a:t>
            </a:r>
            <a:r>
              <a:rPr lang="en-GB"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GB"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GB" sz="2400" i="1" dirty="0">
                <a:solidFill>
                  <a:schemeClr val="bg1"/>
                </a:solidFill>
                <a:latin typeface="+mn-lt"/>
                <a:ea typeface="Quattrocento Sans"/>
                <a:cs typeface="Quattrocento Sans"/>
                <a:sym typeface="Quattrocento Sans"/>
              </a:rPr>
              <a:t>Resize them without losing quality.</a:t>
            </a:r>
            <a:r>
              <a:rPr lang="en-GB" sz="2400" i="1" baseline="0" dirty="0">
                <a:solidFill>
                  <a:schemeClr val="bg1"/>
                </a:solidFill>
                <a:latin typeface="+mn-lt"/>
                <a:ea typeface="Quattrocento Sans"/>
                <a:cs typeface="Quattrocento Sans"/>
                <a:sym typeface="Quattrocento Sans"/>
              </a:rPr>
              <a:t> </a:t>
            </a:r>
            <a:r>
              <a:rPr lang="en-GB" sz="2400" i="1" dirty="0">
                <a:solidFill>
                  <a:schemeClr val="bg1"/>
                </a:solidFill>
                <a:latin typeface="+mn-lt"/>
                <a:ea typeface="Quattrocento Sans"/>
                <a:cs typeface="Quattrocento Sans"/>
                <a:sym typeface="Quattrocento Sans"/>
              </a:rPr>
              <a:t> Change line colour, width and style.</a:t>
            </a:r>
            <a:r>
              <a:rPr lang="en-GB" sz="2400" i="1" baseline="0" dirty="0">
                <a:solidFill>
                  <a:schemeClr val="bg1"/>
                </a:solidFill>
                <a:latin typeface="+mn-lt"/>
                <a:ea typeface="Quattrocento Sans"/>
                <a:cs typeface="Quattrocento Sans"/>
                <a:sym typeface="Quattrocento Sans"/>
              </a:rPr>
              <a:t> </a:t>
            </a:r>
          </a:p>
          <a:p>
            <a:pPr marL="0" lvl="0" indent="0" algn="l" rtl="0">
              <a:spcBef>
                <a:spcPts val="0"/>
              </a:spcBef>
              <a:spcAft>
                <a:spcPts val="0"/>
              </a:spcAft>
              <a:buFont typeface="Arial" charset="0"/>
              <a:buNone/>
            </a:pPr>
            <a:endParaRPr lang="en-GB" sz="2400" dirty="0">
              <a:solidFill>
                <a:schemeClr val="bg1"/>
              </a:solidFill>
              <a:latin typeface="+mn-lt"/>
              <a:ea typeface="Quattrocento Sans"/>
              <a:cs typeface="Quattrocento Sans"/>
              <a:sym typeface="Quattrocento Sans"/>
            </a:endParaRPr>
          </a:p>
          <a:p>
            <a:pPr marL="0" lvl="0" indent="0" algn="l" rtl="0">
              <a:spcBef>
                <a:spcPts val="0"/>
              </a:spcBef>
              <a:spcAft>
                <a:spcPts val="0"/>
              </a:spcAft>
              <a:buFont typeface="Arial" charset="0"/>
              <a:buNone/>
            </a:pPr>
            <a:r>
              <a:rPr lang="en-GB" sz="2400" dirty="0">
                <a:solidFill>
                  <a:schemeClr val="bg1"/>
                </a:solidFill>
                <a:latin typeface="+mn-lt"/>
                <a:ea typeface="Quattrocento Sans"/>
                <a:cs typeface="Quattrocento Sans"/>
                <a:sym typeface="Quattrocento Sans"/>
              </a:rPr>
              <a:t>Isn’t that nice? :)</a:t>
            </a:r>
          </a:p>
        </p:txBody>
      </p:sp>
      <p:cxnSp>
        <p:nvCxnSpPr>
          <p:cNvPr id="7" name="Straight Connector 6"/>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9" name="フッター プレースホルダー 1"/>
          <p:cNvSpPr txBox="1">
            <a:spLocks/>
          </p:cNvSpPr>
          <p:nvPr userDrawn="1"/>
        </p:nvSpPr>
        <p:spPr>
          <a:xfrm>
            <a:off x="13220963" y="108549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49" name="フッター プレースホルダー 1"/>
          <p:cNvSpPr txBox="1">
            <a:spLocks/>
          </p:cNvSpPr>
          <p:nvPr userDrawn="1"/>
        </p:nvSpPr>
        <p:spPr>
          <a:xfrm>
            <a:off x="12681715" y="108803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50" name="Oval 1"/>
          <p:cNvSpPr>
            <a:spLocks noChangeArrowheads="1"/>
          </p:cNvSpPr>
          <p:nvPr userDrawn="1"/>
        </p:nvSpPr>
        <p:spPr bwMode="auto">
          <a:xfrm>
            <a:off x="5370596" y="2052534"/>
            <a:ext cx="720000" cy="720000"/>
          </a:xfrm>
          <a:prstGeom prst="ellipse">
            <a:avLst/>
          </a:prstGeom>
          <a:solidFill>
            <a:srgbClr val="F05A2A"/>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1</a:t>
            </a:r>
          </a:p>
        </p:txBody>
      </p:sp>
      <p:sp>
        <p:nvSpPr>
          <p:cNvPr id="58" name="Rectangle 57"/>
          <p:cNvSpPr/>
          <p:nvPr userDrawn="1"/>
        </p:nvSpPr>
        <p:spPr>
          <a:xfrm>
            <a:off x="448232" y="5065249"/>
            <a:ext cx="4269258" cy="461665"/>
          </a:xfrm>
          <a:prstGeom prst="rect">
            <a:avLst/>
          </a:prstGeom>
        </p:spPr>
        <p:txBody>
          <a:bodyPr wrap="square">
            <a:spAutoFit/>
          </a:bodyPr>
          <a:lstStyle/>
          <a:p>
            <a:pPr algn="just" fontAlgn="base"/>
            <a:r>
              <a:rPr lang="en-GB" sz="800" b="0" i="0" dirty="0">
                <a:solidFill>
                  <a:srgbClr val="245473"/>
                </a:solidFill>
                <a:effectLst/>
                <a:latin typeface="+mn-lt"/>
              </a:rPr>
              <a:t>This programme has been funded with support from the European Commission. The author is solely responsible for this publication (communication) and the Commission accepts no responsibility for any  use that may be made of the information contained therein.</a:t>
            </a:r>
          </a:p>
        </p:txBody>
      </p:sp>
      <p:sp>
        <p:nvSpPr>
          <p:cNvPr id="65" name="Text Placeholder 63"/>
          <p:cNvSpPr>
            <a:spLocks noGrp="1"/>
          </p:cNvSpPr>
          <p:nvPr>
            <p:ph type="body" sz="quarter" idx="22" hasCustomPrompt="1"/>
          </p:nvPr>
        </p:nvSpPr>
        <p:spPr>
          <a:xfrm>
            <a:off x="6232224" y="2061678"/>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66" name="Text Placeholder 63"/>
          <p:cNvSpPr>
            <a:spLocks noGrp="1"/>
          </p:cNvSpPr>
          <p:nvPr>
            <p:ph type="body" sz="quarter" idx="23" hasCustomPrompt="1"/>
          </p:nvPr>
        </p:nvSpPr>
        <p:spPr>
          <a:xfrm>
            <a:off x="6232224" y="2582788"/>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2" name="Text Placeholder 23"/>
          <p:cNvSpPr>
            <a:spLocks noGrp="1"/>
          </p:cNvSpPr>
          <p:nvPr>
            <p:ph type="body" sz="quarter" idx="13" hasCustomPrompt="1"/>
          </p:nvPr>
        </p:nvSpPr>
        <p:spPr>
          <a:xfrm>
            <a:off x="528265" y="2138185"/>
            <a:ext cx="4118429" cy="2548702"/>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73" name="Oval 72"/>
          <p:cNvSpPr>
            <a:spLocks noChangeArrowheads="1"/>
          </p:cNvSpPr>
          <p:nvPr userDrawn="1"/>
        </p:nvSpPr>
        <p:spPr bwMode="auto">
          <a:xfrm>
            <a:off x="5375141" y="3129586"/>
            <a:ext cx="720000" cy="720000"/>
          </a:xfrm>
          <a:prstGeom prst="ellipse">
            <a:avLst/>
          </a:prstGeom>
          <a:solidFill>
            <a:srgbClr val="BBC646"/>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2</a:t>
            </a:r>
          </a:p>
        </p:txBody>
      </p:sp>
      <p:sp>
        <p:nvSpPr>
          <p:cNvPr id="74" name="Text Placeholder 63"/>
          <p:cNvSpPr>
            <a:spLocks noGrp="1"/>
          </p:cNvSpPr>
          <p:nvPr>
            <p:ph type="body" sz="quarter" idx="24" hasCustomPrompt="1"/>
          </p:nvPr>
        </p:nvSpPr>
        <p:spPr>
          <a:xfrm>
            <a:off x="6236769" y="3138730"/>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5" name="Text Placeholder 63"/>
          <p:cNvSpPr>
            <a:spLocks noGrp="1"/>
          </p:cNvSpPr>
          <p:nvPr>
            <p:ph type="body" sz="quarter" idx="25" hasCustomPrompt="1"/>
          </p:nvPr>
        </p:nvSpPr>
        <p:spPr>
          <a:xfrm>
            <a:off x="6236769" y="3659840"/>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6" name="Oval 75"/>
          <p:cNvSpPr>
            <a:spLocks noChangeArrowheads="1"/>
          </p:cNvSpPr>
          <p:nvPr userDrawn="1"/>
        </p:nvSpPr>
        <p:spPr bwMode="auto">
          <a:xfrm>
            <a:off x="5370596" y="4207979"/>
            <a:ext cx="720000" cy="720000"/>
          </a:xfrm>
          <a:prstGeom prst="ellipse">
            <a:avLst/>
          </a:prstGeom>
          <a:solidFill>
            <a:srgbClr val="29B3E8"/>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3</a:t>
            </a:r>
          </a:p>
        </p:txBody>
      </p:sp>
      <p:sp>
        <p:nvSpPr>
          <p:cNvPr id="77" name="Text Placeholder 63"/>
          <p:cNvSpPr>
            <a:spLocks noGrp="1"/>
          </p:cNvSpPr>
          <p:nvPr>
            <p:ph type="body" sz="quarter" idx="26" hasCustomPrompt="1"/>
          </p:nvPr>
        </p:nvSpPr>
        <p:spPr>
          <a:xfrm>
            <a:off x="6232224" y="4217123"/>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8" name="Text Placeholder 63"/>
          <p:cNvSpPr>
            <a:spLocks noGrp="1"/>
          </p:cNvSpPr>
          <p:nvPr>
            <p:ph type="body" sz="quarter" idx="27" hasCustomPrompt="1"/>
          </p:nvPr>
        </p:nvSpPr>
        <p:spPr>
          <a:xfrm>
            <a:off x="6232224" y="4738233"/>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9" name="Oval 78"/>
          <p:cNvSpPr>
            <a:spLocks noChangeArrowheads="1"/>
          </p:cNvSpPr>
          <p:nvPr userDrawn="1"/>
        </p:nvSpPr>
        <p:spPr bwMode="auto">
          <a:xfrm>
            <a:off x="5393421" y="5302137"/>
            <a:ext cx="720000" cy="720000"/>
          </a:xfrm>
          <a:prstGeom prst="ellipse">
            <a:avLst/>
          </a:prstGeom>
          <a:solidFill>
            <a:srgbClr val="E53292"/>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4</a:t>
            </a:r>
          </a:p>
        </p:txBody>
      </p:sp>
      <p:sp>
        <p:nvSpPr>
          <p:cNvPr id="80" name="Text Placeholder 63"/>
          <p:cNvSpPr>
            <a:spLocks noGrp="1"/>
          </p:cNvSpPr>
          <p:nvPr>
            <p:ph type="body" sz="quarter" idx="28" hasCustomPrompt="1"/>
          </p:nvPr>
        </p:nvSpPr>
        <p:spPr>
          <a:xfrm>
            <a:off x="6255049" y="5311281"/>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81" name="Text Placeholder 63"/>
          <p:cNvSpPr>
            <a:spLocks noGrp="1"/>
          </p:cNvSpPr>
          <p:nvPr>
            <p:ph type="body" sz="quarter" idx="29" hasCustomPrompt="1"/>
          </p:nvPr>
        </p:nvSpPr>
        <p:spPr>
          <a:xfrm>
            <a:off x="6255049" y="5832391"/>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pic>
        <p:nvPicPr>
          <p:cNvPr id="22" name="Picture 21">
            <a:extLst>
              <a:ext uri="{FF2B5EF4-FFF2-40B4-BE49-F238E27FC236}">
                <a16:creationId xmlns:a16="http://schemas.microsoft.com/office/drawing/2014/main" xmlns="" id="{A3140CC1-D5A6-9C40-B677-969939A9FA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6237" y="539983"/>
            <a:ext cx="4373248" cy="882773"/>
          </a:xfrm>
          <a:prstGeom prst="rect">
            <a:avLst/>
          </a:prstGeom>
        </p:spPr>
      </p:pic>
      <p:pic>
        <p:nvPicPr>
          <p:cNvPr id="23" name="Picture 22">
            <a:extLst>
              <a:ext uri="{FF2B5EF4-FFF2-40B4-BE49-F238E27FC236}">
                <a16:creationId xmlns:a16="http://schemas.microsoft.com/office/drawing/2014/main" xmlns="" id="{87A7B185-5702-EE47-9B1C-4786C90E393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5733" t="18650"/>
          <a:stretch/>
        </p:blipFill>
        <p:spPr>
          <a:xfrm rot="16200000">
            <a:off x="-39049" y="5532073"/>
            <a:ext cx="1364978" cy="128687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Slide Lef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4495027" y="873303"/>
            <a:ext cx="7074043"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4508938" y="1982978"/>
            <a:ext cx="7060133"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4189948" y="1767276"/>
            <a:ext cx="7753040"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5" name="Picture Placeholder 4"/>
          <p:cNvSpPr>
            <a:spLocks noGrp="1"/>
          </p:cNvSpPr>
          <p:nvPr>
            <p:ph type="pic" sz="quarter" idx="15"/>
          </p:nvPr>
        </p:nvSpPr>
        <p:spPr>
          <a:xfrm>
            <a:off x="1"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13" name="Rectangle 12"/>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6" name="Group 15">
            <a:extLst>
              <a:ext uri="{FF2B5EF4-FFF2-40B4-BE49-F238E27FC236}">
                <a16:creationId xmlns:a16="http://schemas.microsoft.com/office/drawing/2014/main" xmlns="" id="{6D136BF9-5546-6940-8DE6-3CF000FEB318}"/>
              </a:ext>
            </a:extLst>
          </p:cNvPr>
          <p:cNvGrpSpPr/>
          <p:nvPr userDrawn="1"/>
        </p:nvGrpSpPr>
        <p:grpSpPr>
          <a:xfrm>
            <a:off x="3334007" y="6278877"/>
            <a:ext cx="8395542" cy="332623"/>
            <a:chOff x="7632699" y="6308250"/>
            <a:chExt cx="4040789" cy="572290"/>
          </a:xfrm>
        </p:grpSpPr>
        <p:sp>
          <p:nvSpPr>
            <p:cNvPr id="19" name="テキスト プレースホルダー 36">
              <a:extLst>
                <a:ext uri="{FF2B5EF4-FFF2-40B4-BE49-F238E27FC236}">
                  <a16:creationId xmlns:a16="http://schemas.microsoft.com/office/drawing/2014/main" xmlns="" id="{4BC86759-3B8E-0A4A-A22F-1A78E44114E1}"/>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0" name="テキスト プレースホルダー 36">
              <a:extLst>
                <a:ext uri="{FF2B5EF4-FFF2-40B4-BE49-F238E27FC236}">
                  <a16:creationId xmlns:a16="http://schemas.microsoft.com/office/drawing/2014/main" xmlns="" id="{1A9BF760-CB5C-5847-AA83-56DC745A41B2}"/>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1" name="Picture 20">
            <a:extLst>
              <a:ext uri="{FF2B5EF4-FFF2-40B4-BE49-F238E27FC236}">
                <a16:creationId xmlns:a16="http://schemas.microsoft.com/office/drawing/2014/main" xmlns="" id="{526F6654-02F5-A547-996D-5CEC647299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Right">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8270000"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23" name="Text Placeholder 23"/>
          <p:cNvSpPr>
            <a:spLocks noGrp="1"/>
          </p:cNvSpPr>
          <p:nvPr>
            <p:ph type="body" sz="quarter" idx="16" hasCustomPrompt="1"/>
          </p:nvPr>
        </p:nvSpPr>
        <p:spPr>
          <a:xfrm>
            <a:off x="718642" y="873067"/>
            <a:ext cx="7066011"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4" name="Text Placeholder 25"/>
          <p:cNvSpPr>
            <a:spLocks noGrp="1"/>
          </p:cNvSpPr>
          <p:nvPr>
            <p:ph type="body" sz="quarter" idx="17" hasCustomPrompt="1"/>
          </p:nvPr>
        </p:nvSpPr>
        <p:spPr>
          <a:xfrm>
            <a:off x="736049" y="1982742"/>
            <a:ext cx="7052117"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5" name="Straight Connector 24"/>
          <p:cNvCxnSpPr/>
          <p:nvPr userDrawn="1"/>
        </p:nvCxnSpPr>
        <p:spPr>
          <a:xfrm flipH="1">
            <a:off x="425728" y="1767040"/>
            <a:ext cx="7551624"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0" name="Rectangle 2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1" name="Group 10">
            <a:extLst>
              <a:ext uri="{FF2B5EF4-FFF2-40B4-BE49-F238E27FC236}">
                <a16:creationId xmlns:a16="http://schemas.microsoft.com/office/drawing/2014/main" xmlns="" id="{A007B40A-3467-DB4C-89EA-97DB4AA7D7E3}"/>
              </a:ext>
            </a:extLst>
          </p:cNvPr>
          <p:cNvGrpSpPr/>
          <p:nvPr userDrawn="1"/>
        </p:nvGrpSpPr>
        <p:grpSpPr>
          <a:xfrm>
            <a:off x="1333695" y="6201410"/>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B084CC3A-DD02-A24D-AA62-027486FC2B8F}"/>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B9087191-E74F-314C-827A-09925C706A3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5D933AB-2A14-6F4F-AD5A-CE21FA11958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nly with 2 colums - RIGHT">
    <p:spTree>
      <p:nvGrpSpPr>
        <p:cNvPr id="1" name=""/>
        <p:cNvGrpSpPr/>
        <p:nvPr/>
      </p:nvGrpSpPr>
      <p:grpSpPr>
        <a:xfrm>
          <a:off x="0" y="0"/>
          <a:ext cx="0" cy="0"/>
          <a:chOff x="0" y="0"/>
          <a:chExt cx="0" cy="0"/>
        </a:xfrm>
      </p:grpSpPr>
      <p:sp>
        <p:nvSpPr>
          <p:cNvPr id="24" name="Text Placeholder 25"/>
          <p:cNvSpPr>
            <a:spLocks noGrp="1"/>
          </p:cNvSpPr>
          <p:nvPr>
            <p:ph type="body" sz="quarter" idx="15" hasCustomPrompt="1"/>
          </p:nvPr>
        </p:nvSpPr>
        <p:spPr>
          <a:xfrm>
            <a:off x="2734104" y="1998568"/>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5"/>
          <p:cNvSpPr>
            <a:spLocks noGrp="1"/>
          </p:cNvSpPr>
          <p:nvPr>
            <p:ph type="body" sz="quarter" idx="16" hasCustomPrompt="1"/>
          </p:nvPr>
        </p:nvSpPr>
        <p:spPr>
          <a:xfrm>
            <a:off x="7266140" y="1996914"/>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9"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7" name="Straight Connector 26"/>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p:cNvGrpSpPr/>
          <p:nvPr userDrawn="1"/>
        </p:nvGrpSpPr>
        <p:grpSpPr>
          <a:xfrm>
            <a:off x="3334007" y="6278877"/>
            <a:ext cx="8395542" cy="332623"/>
            <a:chOff x="7632699" y="6308250"/>
            <a:chExt cx="4040789" cy="572290"/>
          </a:xfrm>
        </p:grpSpPr>
        <p:sp>
          <p:nvSpPr>
            <p:cNvPr id="16" name="テキスト プレースホルダー 36"/>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sp>
        <p:nvSpPr>
          <p:cNvPr id="19" name="Rectangle 18"/>
          <p:cNvSpPr/>
          <p:nvPr userDrawn="1"/>
        </p:nvSpPr>
        <p:spPr>
          <a:xfrm>
            <a:off x="-4240"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C88269A5-701F-6949-B048-589F1BF7F78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with 3 colums - RIGHT">
    <p:spTree>
      <p:nvGrpSpPr>
        <p:cNvPr id="1" name=""/>
        <p:cNvGrpSpPr/>
        <p:nvPr/>
      </p:nvGrpSpPr>
      <p:grpSpPr>
        <a:xfrm>
          <a:off x="0" y="0"/>
          <a:ext cx="0" cy="0"/>
          <a:chOff x="0" y="0"/>
          <a:chExt cx="0" cy="0"/>
        </a:xfrm>
      </p:grpSpPr>
      <p:sp>
        <p:nvSpPr>
          <p:cNvPr id="33" name="Text Placeholder 25"/>
          <p:cNvSpPr>
            <a:spLocks noGrp="1"/>
          </p:cNvSpPr>
          <p:nvPr>
            <p:ph type="body" sz="quarter" idx="15" hasCustomPrompt="1"/>
          </p:nvPr>
        </p:nvSpPr>
        <p:spPr>
          <a:xfrm>
            <a:off x="2716696"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4" name="Text Placeholder 25"/>
          <p:cNvSpPr>
            <a:spLocks noGrp="1"/>
          </p:cNvSpPr>
          <p:nvPr>
            <p:ph type="body" sz="quarter" idx="16" hasCustomPrompt="1"/>
          </p:nvPr>
        </p:nvSpPr>
        <p:spPr>
          <a:xfrm>
            <a:off x="8710202"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5" name="Text Placeholder 25"/>
          <p:cNvSpPr>
            <a:spLocks noGrp="1"/>
          </p:cNvSpPr>
          <p:nvPr>
            <p:ph type="body" sz="quarter" idx="17" hasCustomPrompt="1"/>
          </p:nvPr>
        </p:nvSpPr>
        <p:spPr>
          <a:xfrm>
            <a:off x="5714013"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13"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3" name="Straight Connector 22"/>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6" name="Rectangle 2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a:extLst>
              <a:ext uri="{FF2B5EF4-FFF2-40B4-BE49-F238E27FC236}">
                <a16:creationId xmlns:a16="http://schemas.microsoft.com/office/drawing/2014/main" xmlns="" id="{70DA7FD3-E69A-1641-A2C7-D181592526E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a:extLst>
              <a:ext uri="{FF2B5EF4-FFF2-40B4-BE49-F238E27FC236}">
                <a16:creationId xmlns:a16="http://schemas.microsoft.com/office/drawing/2014/main" xmlns="" id="{46328970-35E4-CD43-AC6C-DBF187C5B1AF}"/>
              </a:ext>
            </a:extLst>
          </p:cNvPr>
          <p:cNvGrpSpPr/>
          <p:nvPr userDrawn="1"/>
        </p:nvGrpSpPr>
        <p:grpSpPr>
          <a:xfrm>
            <a:off x="3334007" y="6278877"/>
            <a:ext cx="8395542" cy="332623"/>
            <a:chOff x="7632699" y="6308250"/>
            <a:chExt cx="4040789" cy="572290"/>
          </a:xfrm>
        </p:grpSpPr>
        <p:sp>
          <p:nvSpPr>
            <p:cNvPr id="18" name="テキスト プレースホルダー 36">
              <a:extLst>
                <a:ext uri="{FF2B5EF4-FFF2-40B4-BE49-F238E27FC236}">
                  <a16:creationId xmlns:a16="http://schemas.microsoft.com/office/drawing/2014/main" xmlns="" id="{9A05FA7E-C217-DC48-95D7-8D38AE20CBE9}"/>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9" name="テキスト プレースホルダー 36">
              <a:extLst>
                <a:ext uri="{FF2B5EF4-FFF2-40B4-BE49-F238E27FC236}">
                  <a16:creationId xmlns:a16="http://schemas.microsoft.com/office/drawing/2014/main" xmlns="" id="{FF6BC695-5326-8B49-8F95-724E5B695B5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0" name="Picture 19">
            <a:extLst>
              <a:ext uri="{FF2B5EF4-FFF2-40B4-BE49-F238E27FC236}">
                <a16:creationId xmlns:a16="http://schemas.microsoft.com/office/drawing/2014/main" xmlns="" id="{694CF00F-1854-2945-AD41-A475C572B9C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nly with 1 colum - LEFT">
    <p:spTree>
      <p:nvGrpSpPr>
        <p:cNvPr id="1" name=""/>
        <p:cNvGrpSpPr/>
        <p:nvPr/>
      </p:nvGrpSpPr>
      <p:grpSpPr>
        <a:xfrm>
          <a:off x="0" y="0"/>
          <a:ext cx="0" cy="0"/>
          <a:chOff x="0" y="0"/>
          <a:chExt cx="0" cy="0"/>
        </a:xfrm>
      </p:grpSpPr>
      <p:sp>
        <p:nvSpPr>
          <p:cNvPr id="22" name="Text Placeholder 23"/>
          <p:cNvSpPr>
            <a:spLocks noGrp="1"/>
          </p:cNvSpPr>
          <p:nvPr>
            <p:ph type="body" sz="quarter" idx="15" hasCustomPrompt="1"/>
          </p:nvPr>
        </p:nvSpPr>
        <p:spPr>
          <a:xfrm>
            <a:off x="718642"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3" name="Text Placeholder 25"/>
          <p:cNvSpPr>
            <a:spLocks noGrp="1"/>
          </p:cNvSpPr>
          <p:nvPr>
            <p:ph type="body" sz="quarter" idx="16" hasCustomPrompt="1"/>
          </p:nvPr>
        </p:nvSpPr>
        <p:spPr>
          <a:xfrm>
            <a:off x="736049" y="1982742"/>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4" name="Straight Connector 23"/>
          <p:cNvCxnSpPr/>
          <p:nvPr userDrawn="1"/>
        </p:nvCxnSpPr>
        <p:spPr>
          <a:xfrm flipH="1">
            <a:off x="425727" y="1767040"/>
            <a:ext cx="930159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895BA794-76E1-C242-9A27-24CE7E2B4E3C}"/>
              </a:ext>
            </a:extLst>
          </p:cNvPr>
          <p:cNvGrpSpPr/>
          <p:nvPr userDrawn="1"/>
        </p:nvGrpSpPr>
        <p:grpSpPr>
          <a:xfrm>
            <a:off x="1333695" y="6201410"/>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701912EB-5F7B-824A-92EB-00EB0F388EB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5" name="テキスト プレースホルダー 36">
              <a:extLst>
                <a:ext uri="{FF2B5EF4-FFF2-40B4-BE49-F238E27FC236}">
                  <a16:creationId xmlns:a16="http://schemas.microsoft.com/office/drawing/2014/main" xmlns="" id="{CB8F34CD-18E2-5C4C-8028-879A13939DB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7" name="Picture 16">
            <a:extLst>
              <a:ext uri="{FF2B5EF4-FFF2-40B4-BE49-F238E27FC236}">
                <a16:creationId xmlns:a16="http://schemas.microsoft.com/office/drawing/2014/main" xmlns="" id="{6E5F8B4E-A0FA-9A4E-9CB3-073ED019B41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only with 2 colums - LEFT">
    <p:spTree>
      <p:nvGrpSpPr>
        <p:cNvPr id="1" name=""/>
        <p:cNvGrpSpPr/>
        <p:nvPr/>
      </p:nvGrpSpPr>
      <p:grpSpPr>
        <a:xfrm>
          <a:off x="0" y="0"/>
          <a:ext cx="0" cy="0"/>
          <a:chOff x="0" y="0"/>
          <a:chExt cx="0" cy="0"/>
        </a:xfrm>
      </p:grpSpPr>
      <p:sp>
        <p:nvSpPr>
          <p:cNvPr id="23" name="Text Placeholder 25"/>
          <p:cNvSpPr>
            <a:spLocks noGrp="1"/>
          </p:cNvSpPr>
          <p:nvPr>
            <p:ph type="body" sz="quarter" idx="16" hasCustomPrompt="1"/>
          </p:nvPr>
        </p:nvSpPr>
        <p:spPr>
          <a:xfrm>
            <a:off x="657223" y="2002626"/>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p:ph type="body" sz="quarter" idx="17" hasCustomPrompt="1"/>
          </p:nvPr>
        </p:nvSpPr>
        <p:spPr>
          <a:xfrm>
            <a:off x="5189259" y="2000972"/>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6" name="Text Placeholder 23"/>
          <p:cNvSpPr>
            <a:spLocks noGrp="1"/>
          </p:cNvSpPr>
          <p:nvPr>
            <p:ph type="body" sz="quarter" idx="18" hasCustomPrompt="1"/>
          </p:nvPr>
        </p:nvSpPr>
        <p:spPr>
          <a:xfrm>
            <a:off x="639815" y="877361"/>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32" name="Straight Connector 31"/>
          <p:cNvCxnSpPr/>
          <p:nvPr userDrawn="1"/>
        </p:nvCxnSpPr>
        <p:spPr>
          <a:xfrm flipH="1">
            <a:off x="425727" y="1767040"/>
            <a:ext cx="925430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6D7D5E2A-2B81-A148-9321-B307B24B86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13" name="Group 12">
            <a:extLst>
              <a:ext uri="{FF2B5EF4-FFF2-40B4-BE49-F238E27FC236}">
                <a16:creationId xmlns:a16="http://schemas.microsoft.com/office/drawing/2014/main" xmlns="" id="{ADAB36EC-5DEF-9B45-8EDB-092DA7FDACA9}"/>
              </a:ext>
            </a:extLst>
          </p:cNvPr>
          <p:cNvGrpSpPr/>
          <p:nvPr userDrawn="1"/>
        </p:nvGrpSpPr>
        <p:grpSpPr>
          <a:xfrm>
            <a:off x="1333695" y="6201410"/>
            <a:ext cx="2312384" cy="332623"/>
            <a:chOff x="10743787" y="6308250"/>
            <a:chExt cx="1112954" cy="572290"/>
          </a:xfrm>
        </p:grpSpPr>
        <p:sp>
          <p:nvSpPr>
            <p:cNvPr id="19" name="テキスト プレースホルダー 36">
              <a:extLst>
                <a:ext uri="{FF2B5EF4-FFF2-40B4-BE49-F238E27FC236}">
                  <a16:creationId xmlns:a16="http://schemas.microsoft.com/office/drawing/2014/main" xmlns="" id="{532796E0-DEBC-F04D-B4AE-B3EE1ED82F71}"/>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CDA7F8D1-6FF9-4B4D-996A-76C35DA2948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E7B94B9B-271A-9A40-8864-E7E637033B5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only with 3 colums - LEFT">
    <p:spTree>
      <p:nvGrpSpPr>
        <p:cNvPr id="1" name=""/>
        <p:cNvGrpSpPr/>
        <p:nvPr/>
      </p:nvGrpSpPr>
      <p:grpSpPr>
        <a:xfrm>
          <a:off x="0" y="0"/>
          <a:ext cx="0" cy="0"/>
          <a:chOff x="0" y="0"/>
          <a:chExt cx="0" cy="0"/>
        </a:xfrm>
      </p:grpSpPr>
      <p:sp>
        <p:nvSpPr>
          <p:cNvPr id="14" name="テキスト プレースホルダー 36"/>
          <p:cNvSpPr txBox="1">
            <a:spLocks/>
          </p:cNvSpPr>
          <p:nvPr userDrawn="1"/>
        </p:nvSpPr>
        <p:spPr bwMode="auto">
          <a:xfrm>
            <a:off x="580570" y="6321603"/>
            <a:ext cx="877943"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r">
              <a:buFontTx/>
              <a:buNone/>
            </a:pPr>
            <a:endParaRPr kumimoji="1" lang="en-GB" altLang="ja-JP" sz="1100" dirty="0">
              <a:solidFill>
                <a:srgbClr val="003841"/>
              </a:solidFill>
              <a:latin typeface="Calibri" charset="0"/>
            </a:endParaRPr>
          </a:p>
        </p:txBody>
      </p:sp>
      <p:sp>
        <p:nvSpPr>
          <p:cNvPr id="22" name="Text Placeholder 25"/>
          <p:cNvSpPr>
            <a:spLocks noGrp="1"/>
          </p:cNvSpPr>
          <p:nvPr userDrawn="1">
            <p:ph type="body" sz="quarter" idx="15" hasCustomPrompt="1"/>
          </p:nvPr>
        </p:nvSpPr>
        <p:spPr>
          <a:xfrm>
            <a:off x="712878"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3" name="Text Placeholder 25"/>
          <p:cNvSpPr>
            <a:spLocks noGrp="1"/>
          </p:cNvSpPr>
          <p:nvPr userDrawn="1">
            <p:ph type="body" sz="quarter" idx="16" hasCustomPrompt="1"/>
          </p:nvPr>
        </p:nvSpPr>
        <p:spPr>
          <a:xfrm>
            <a:off x="6706384"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userDrawn="1">
            <p:ph type="body" sz="quarter" idx="20" hasCustomPrompt="1"/>
          </p:nvPr>
        </p:nvSpPr>
        <p:spPr>
          <a:xfrm>
            <a:off x="3710195"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3"/>
          <p:cNvSpPr>
            <a:spLocks noGrp="1"/>
          </p:cNvSpPr>
          <p:nvPr userDrawn="1">
            <p:ph type="body" sz="quarter" idx="21" hasCustomPrompt="1"/>
          </p:nvPr>
        </p:nvSpPr>
        <p:spPr>
          <a:xfrm>
            <a:off x="712878"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31" name="テキスト プレースホルダー 36"/>
          <p:cNvSpPr txBox="1">
            <a:spLocks/>
          </p:cNvSpPr>
          <p:nvPr userDrawn="1"/>
        </p:nvSpPr>
        <p:spPr bwMode="auto">
          <a:xfrm>
            <a:off x="3979193" y="5224665"/>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cxnSp>
        <p:nvCxnSpPr>
          <p:cNvPr id="32" name="Straight Connector 31"/>
          <p:cNvCxnSpPr/>
          <p:nvPr userDrawn="1"/>
        </p:nvCxnSpPr>
        <p:spPr>
          <a:xfrm flipH="1">
            <a:off x="425727" y="1767040"/>
            <a:ext cx="9411956"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0" name="Picture 19">
            <a:extLst>
              <a:ext uri="{FF2B5EF4-FFF2-40B4-BE49-F238E27FC236}">
                <a16:creationId xmlns:a16="http://schemas.microsoft.com/office/drawing/2014/main" xmlns="" id="{F17E6557-D97C-E242-B6F9-6382EA595F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21" name="Group 20">
            <a:extLst>
              <a:ext uri="{FF2B5EF4-FFF2-40B4-BE49-F238E27FC236}">
                <a16:creationId xmlns:a16="http://schemas.microsoft.com/office/drawing/2014/main" xmlns="" id="{D82BC0DB-5DE7-2447-83C8-23383567DEC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2C5D5364-575D-D042-B367-4A2C62F98CF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CB369F45-4993-CE41-9F64-43C9D8D15EE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AD59E0B3-62A5-5549-BAF8-ABCFE552912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676221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 Lim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 Blue">
    <p:spTree>
      <p:nvGrpSpPr>
        <p:cNvPr id="1" name=""/>
        <p:cNvGrpSpPr/>
        <p:nvPr/>
      </p:nvGrpSpPr>
      <p:grpSpPr>
        <a:xfrm>
          <a:off x="0" y="0"/>
          <a:ext cx="0" cy="0"/>
          <a:chOff x="0" y="0"/>
          <a:chExt cx="0" cy="0"/>
        </a:xfrm>
      </p:grpSpPr>
      <p:sp>
        <p:nvSpPr>
          <p:cNvPr id="6" name="Rectangle 5"/>
          <p:cNvSpPr/>
          <p:nvPr userDrawn="1"/>
        </p:nvSpPr>
        <p:spPr>
          <a:xfrm>
            <a:off x="0" y="0"/>
            <a:ext cx="12192000" cy="6952129"/>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4"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 Pink">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9"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1">
    <p:spTree>
      <p:nvGrpSpPr>
        <p:cNvPr id="1" name=""/>
        <p:cNvGrpSpPr/>
        <p:nvPr/>
      </p:nvGrpSpPr>
      <p:grpSpPr>
        <a:xfrm>
          <a:off x="0" y="0"/>
          <a:ext cx="0" cy="0"/>
          <a:chOff x="0" y="0"/>
          <a:chExt cx="0" cy="0"/>
        </a:xfrm>
      </p:grpSpPr>
      <p:cxnSp>
        <p:nvCxnSpPr>
          <p:cNvPr id="21" name="Straight Connector 20"/>
          <p:cNvCxnSpPr/>
          <p:nvPr userDrawn="1"/>
        </p:nvCxnSpPr>
        <p:spPr>
          <a:xfrm>
            <a:off x="-36415" y="2997017"/>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0" hasCustomPrompt="1"/>
          </p:nvPr>
        </p:nvSpPr>
        <p:spPr>
          <a:xfrm>
            <a:off x="303467" y="3845754"/>
            <a:ext cx="2672815" cy="1878334"/>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2" name="Text Placeholder 2"/>
          <p:cNvSpPr>
            <a:spLocks noGrp="1"/>
          </p:cNvSpPr>
          <p:nvPr>
            <p:ph type="body" sz="quarter" idx="11" hasCustomPrompt="1"/>
          </p:nvPr>
        </p:nvSpPr>
        <p:spPr>
          <a:xfrm>
            <a:off x="3243611"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4" name="Text Placeholder 2"/>
          <p:cNvSpPr>
            <a:spLocks noGrp="1"/>
          </p:cNvSpPr>
          <p:nvPr>
            <p:ph type="body" sz="quarter" idx="12" hasCustomPrompt="1"/>
          </p:nvPr>
        </p:nvSpPr>
        <p:spPr>
          <a:xfrm>
            <a:off x="6115112" y="3845754"/>
            <a:ext cx="2672815" cy="192257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6" name="Text Placeholder 2"/>
          <p:cNvSpPr>
            <a:spLocks noGrp="1"/>
          </p:cNvSpPr>
          <p:nvPr>
            <p:ph type="body" sz="quarter" idx="13" hasCustomPrompt="1"/>
          </p:nvPr>
        </p:nvSpPr>
        <p:spPr>
          <a:xfrm>
            <a:off x="9068395"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 name="Oval 1"/>
          <p:cNvSpPr/>
          <p:nvPr userDrawn="1"/>
        </p:nvSpPr>
        <p:spPr>
          <a:xfrm>
            <a:off x="985917" y="2341774"/>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p:cNvSpPr/>
          <p:nvPr userDrawn="1"/>
        </p:nvSpPr>
        <p:spPr>
          <a:xfrm>
            <a:off x="3936550" y="2357577"/>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p:cNvSpPr/>
          <p:nvPr userDrawn="1"/>
        </p:nvSpPr>
        <p:spPr>
          <a:xfrm>
            <a:off x="6751909" y="2313333"/>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p:cNvSpPr/>
          <p:nvPr userDrawn="1"/>
        </p:nvSpPr>
        <p:spPr>
          <a:xfrm>
            <a:off x="9765418" y="2342845"/>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4" name="Group 23">
            <a:extLst>
              <a:ext uri="{FF2B5EF4-FFF2-40B4-BE49-F238E27FC236}">
                <a16:creationId xmlns:a16="http://schemas.microsoft.com/office/drawing/2014/main" xmlns="" id="{E931C879-0C42-5546-BAF2-B2AD85753C19}"/>
              </a:ext>
            </a:extLst>
          </p:cNvPr>
          <p:cNvGrpSpPr/>
          <p:nvPr userDrawn="1"/>
        </p:nvGrpSpPr>
        <p:grpSpPr>
          <a:xfrm>
            <a:off x="5518067" y="6300459"/>
            <a:ext cx="2312384" cy="332623"/>
            <a:chOff x="10743787" y="6308250"/>
            <a:chExt cx="1112954" cy="572290"/>
          </a:xfrm>
        </p:grpSpPr>
        <p:sp>
          <p:nvSpPr>
            <p:cNvPr id="25" name="テキスト プレースホルダー 36">
              <a:extLst>
                <a:ext uri="{FF2B5EF4-FFF2-40B4-BE49-F238E27FC236}">
                  <a16:creationId xmlns:a16="http://schemas.microsoft.com/office/drawing/2014/main" xmlns="" id="{CB4597BD-02B4-7E48-82FB-F43E4F1EA55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6" name="テキスト プレースホルダー 36">
              <a:extLst>
                <a:ext uri="{FF2B5EF4-FFF2-40B4-BE49-F238E27FC236}">
                  <a16:creationId xmlns:a16="http://schemas.microsoft.com/office/drawing/2014/main" xmlns="" id="{43713398-D2FD-D24F-945B-F9C48B21BA4D}"/>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7" name="Picture 26">
            <a:extLst>
              <a:ext uri="{FF2B5EF4-FFF2-40B4-BE49-F238E27FC236}">
                <a16:creationId xmlns:a16="http://schemas.microsoft.com/office/drawing/2014/main" xmlns="" id="{0811E7D2-998A-4B4A-BF79-BFC8238DE4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397427"/>
            <a:ext cx="1257734" cy="191646"/>
          </a:xfrm>
          <a:prstGeom prst="rect">
            <a:avLst/>
          </a:prstGeom>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2">
    <p:spTree>
      <p:nvGrpSpPr>
        <p:cNvPr id="1" name=""/>
        <p:cNvGrpSpPr/>
        <p:nvPr/>
      </p:nvGrpSpPr>
      <p:grpSpPr>
        <a:xfrm>
          <a:off x="0" y="0"/>
          <a:ext cx="0" cy="0"/>
          <a:chOff x="0" y="0"/>
          <a:chExt cx="0" cy="0"/>
        </a:xfrm>
      </p:grpSpPr>
      <p:cxnSp>
        <p:nvCxnSpPr>
          <p:cNvPr id="18" name="Straight Connector 17"/>
          <p:cNvCxnSpPr/>
          <p:nvPr userDrawn="1"/>
        </p:nvCxnSpPr>
        <p:spPr>
          <a:xfrm>
            <a:off x="-6261" y="1227211"/>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0" hasCustomPrompt="1"/>
          </p:nvPr>
        </p:nvSpPr>
        <p:spPr>
          <a:xfrm>
            <a:off x="333621"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0" name="Text Placeholder 2"/>
          <p:cNvSpPr>
            <a:spLocks noGrp="1"/>
          </p:cNvSpPr>
          <p:nvPr>
            <p:ph type="body" sz="quarter" idx="11" hasCustomPrompt="1"/>
          </p:nvPr>
        </p:nvSpPr>
        <p:spPr>
          <a:xfrm>
            <a:off x="3273765"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1" name="Text Placeholder 2"/>
          <p:cNvSpPr>
            <a:spLocks noGrp="1"/>
          </p:cNvSpPr>
          <p:nvPr>
            <p:ph type="body" sz="quarter" idx="12" hasCustomPrompt="1"/>
          </p:nvPr>
        </p:nvSpPr>
        <p:spPr>
          <a:xfrm>
            <a:off x="6145266"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2" name="Text Placeholder 2"/>
          <p:cNvSpPr>
            <a:spLocks noGrp="1"/>
          </p:cNvSpPr>
          <p:nvPr>
            <p:ph type="body" sz="quarter" idx="13" hasCustomPrompt="1"/>
          </p:nvPr>
        </p:nvSpPr>
        <p:spPr>
          <a:xfrm>
            <a:off x="9098549"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0" name="Oval 29"/>
          <p:cNvSpPr/>
          <p:nvPr userDrawn="1"/>
        </p:nvSpPr>
        <p:spPr>
          <a:xfrm>
            <a:off x="1016071" y="571968"/>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p:cNvSpPr/>
          <p:nvPr userDrawn="1"/>
        </p:nvSpPr>
        <p:spPr>
          <a:xfrm>
            <a:off x="3966704" y="587771"/>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Oval 31"/>
          <p:cNvSpPr/>
          <p:nvPr userDrawn="1"/>
        </p:nvSpPr>
        <p:spPr>
          <a:xfrm>
            <a:off x="6782063" y="543527"/>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Oval 32"/>
          <p:cNvSpPr/>
          <p:nvPr userDrawn="1"/>
        </p:nvSpPr>
        <p:spPr>
          <a:xfrm>
            <a:off x="9795572" y="573039"/>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5F027659-0F67-374E-9B5B-7757D16E8696}"/>
              </a:ext>
            </a:extLst>
          </p:cNvPr>
          <p:cNvGrpSpPr/>
          <p:nvPr userDrawn="1"/>
        </p:nvGrpSpPr>
        <p:grpSpPr>
          <a:xfrm>
            <a:off x="5518067" y="6320337"/>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535210E2-33C0-E547-812F-8F5B6534A58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042B36FA-511B-4140-9958-1328E9BFD5DE}"/>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3" name="Picture 22">
            <a:extLst>
              <a:ext uri="{FF2B5EF4-FFF2-40B4-BE49-F238E27FC236}">
                <a16:creationId xmlns:a16="http://schemas.microsoft.com/office/drawing/2014/main" xmlns="" id="{CBB772CA-66A6-4B48-A303-A5BA4C96060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with icons slide">
    <p:spTree>
      <p:nvGrpSpPr>
        <p:cNvPr id="1" name=""/>
        <p:cNvGrpSpPr/>
        <p:nvPr/>
      </p:nvGrpSpPr>
      <p:grpSpPr>
        <a:xfrm>
          <a:off x="0" y="0"/>
          <a:ext cx="0" cy="0"/>
          <a:chOff x="0" y="0"/>
          <a:chExt cx="0" cy="0"/>
        </a:xfrm>
      </p:grpSpPr>
      <p:sp>
        <p:nvSpPr>
          <p:cNvPr id="12" name="Rectangle 11"/>
          <p:cNvSpPr/>
          <p:nvPr userDrawn="1"/>
        </p:nvSpPr>
        <p:spPr>
          <a:xfrm>
            <a:off x="0" y="0"/>
            <a:ext cx="12192000" cy="272845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8" name="Text Placeholder 23"/>
          <p:cNvSpPr>
            <a:spLocks noGrp="1"/>
          </p:cNvSpPr>
          <p:nvPr>
            <p:ph type="body" sz="quarter" idx="13" hasCustomPrompt="1"/>
          </p:nvPr>
        </p:nvSpPr>
        <p:spPr>
          <a:xfrm>
            <a:off x="0" y="826647"/>
            <a:ext cx="12192000" cy="697353"/>
          </a:xfrm>
        </p:spPr>
        <p:txBody>
          <a:bodyPr>
            <a:normAutofit/>
          </a:bodyPr>
          <a:lstStyle>
            <a:lvl1pPr marL="0" indent="0" algn="ctr">
              <a:buNone/>
              <a:defRPr sz="3600">
                <a:solidFill>
                  <a:schemeClr val="bg1"/>
                </a:solidFill>
                <a:latin typeface="+mn-lt"/>
              </a:defRPr>
            </a:lvl1pPr>
          </a:lstStyle>
          <a:p>
            <a:pPr lvl="0"/>
            <a:r>
              <a:rPr lang="en-GB" dirty="0"/>
              <a:t>TITLE</a:t>
            </a:r>
          </a:p>
        </p:txBody>
      </p:sp>
      <p:sp>
        <p:nvSpPr>
          <p:cNvPr id="22" name="Text Placeholder 23"/>
          <p:cNvSpPr>
            <a:spLocks noGrp="1"/>
          </p:cNvSpPr>
          <p:nvPr>
            <p:ph type="body" sz="quarter" idx="14" hasCustomPrompt="1"/>
          </p:nvPr>
        </p:nvSpPr>
        <p:spPr>
          <a:xfrm>
            <a:off x="684287"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3" name="Text Placeholder 23"/>
          <p:cNvSpPr>
            <a:spLocks noGrp="1"/>
          </p:cNvSpPr>
          <p:nvPr>
            <p:ph type="body" sz="quarter" idx="15" hasCustomPrompt="1"/>
          </p:nvPr>
        </p:nvSpPr>
        <p:spPr>
          <a:xfrm>
            <a:off x="684287"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4" name="Straight Connector 3"/>
          <p:cNvCxnSpPr/>
          <p:nvPr userDrawn="1"/>
        </p:nvCxnSpPr>
        <p:spPr>
          <a:xfrm flipH="1">
            <a:off x="555813"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26" name="Text Placeholder 23"/>
          <p:cNvSpPr>
            <a:spLocks noGrp="1"/>
          </p:cNvSpPr>
          <p:nvPr>
            <p:ph type="body" sz="quarter" idx="16" hasCustomPrompt="1"/>
          </p:nvPr>
        </p:nvSpPr>
        <p:spPr>
          <a:xfrm>
            <a:off x="451221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7" name="Text Placeholder 23"/>
          <p:cNvSpPr>
            <a:spLocks noGrp="1"/>
          </p:cNvSpPr>
          <p:nvPr>
            <p:ph type="body" sz="quarter" idx="17" hasCustomPrompt="1"/>
          </p:nvPr>
        </p:nvSpPr>
        <p:spPr>
          <a:xfrm>
            <a:off x="451221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28" name="Straight Connector 27"/>
          <p:cNvCxnSpPr/>
          <p:nvPr userDrawn="1"/>
        </p:nvCxnSpPr>
        <p:spPr>
          <a:xfrm flipH="1">
            <a:off x="438374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0" name="Text Placeholder 23"/>
          <p:cNvSpPr>
            <a:spLocks noGrp="1"/>
          </p:cNvSpPr>
          <p:nvPr>
            <p:ph type="body" sz="quarter" idx="18" hasCustomPrompt="1"/>
          </p:nvPr>
        </p:nvSpPr>
        <p:spPr>
          <a:xfrm>
            <a:off x="822808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31" name="Text Placeholder 23"/>
          <p:cNvSpPr>
            <a:spLocks noGrp="1"/>
          </p:cNvSpPr>
          <p:nvPr>
            <p:ph type="body" sz="quarter" idx="19" hasCustomPrompt="1"/>
          </p:nvPr>
        </p:nvSpPr>
        <p:spPr>
          <a:xfrm>
            <a:off x="822808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35" name="Straight Connector 34"/>
          <p:cNvCxnSpPr/>
          <p:nvPr userDrawn="1"/>
        </p:nvCxnSpPr>
        <p:spPr>
          <a:xfrm flipH="1">
            <a:off x="809961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4" name="Oval 33"/>
          <p:cNvSpPr/>
          <p:nvPr userDrawn="1"/>
        </p:nvSpPr>
        <p:spPr>
          <a:xfrm>
            <a:off x="1838368" y="2017629"/>
            <a:ext cx="1075289" cy="1075289"/>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Oval 35"/>
          <p:cNvSpPr/>
          <p:nvPr userDrawn="1"/>
        </p:nvSpPr>
        <p:spPr>
          <a:xfrm>
            <a:off x="5641642" y="2017629"/>
            <a:ext cx="1075289" cy="1075289"/>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Oval 36"/>
          <p:cNvSpPr/>
          <p:nvPr userDrawn="1"/>
        </p:nvSpPr>
        <p:spPr>
          <a:xfrm>
            <a:off x="9394856" y="2017628"/>
            <a:ext cx="1075289" cy="1075289"/>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1" name="Group 20">
            <a:extLst>
              <a:ext uri="{FF2B5EF4-FFF2-40B4-BE49-F238E27FC236}">
                <a16:creationId xmlns:a16="http://schemas.microsoft.com/office/drawing/2014/main" xmlns="" id="{6A1ACCDE-2F4A-624D-AD12-41160F8A718A}"/>
              </a:ext>
            </a:extLst>
          </p:cNvPr>
          <p:cNvGrpSpPr/>
          <p:nvPr userDrawn="1"/>
        </p:nvGrpSpPr>
        <p:grpSpPr>
          <a:xfrm>
            <a:off x="5518067" y="6320337"/>
            <a:ext cx="2312384" cy="332623"/>
            <a:chOff x="10743787" y="6308250"/>
            <a:chExt cx="1112954" cy="572290"/>
          </a:xfrm>
        </p:grpSpPr>
        <p:sp>
          <p:nvSpPr>
            <p:cNvPr id="24" name="テキスト プレースホルダー 36">
              <a:extLst>
                <a:ext uri="{FF2B5EF4-FFF2-40B4-BE49-F238E27FC236}">
                  <a16:creationId xmlns:a16="http://schemas.microsoft.com/office/drawing/2014/main" xmlns="" id="{D6526A23-8572-5F42-9B8E-C5D6473D280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5" name="テキスト プレースホルダー 36">
              <a:extLst>
                <a:ext uri="{FF2B5EF4-FFF2-40B4-BE49-F238E27FC236}">
                  <a16:creationId xmlns:a16="http://schemas.microsoft.com/office/drawing/2014/main" xmlns="" id="{B7D8282B-898E-0B47-BF0F-CFC46DE69B6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B8479BF6-3A9A-2F42-84AD-58F514B47D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bullets slide">
    <p:spTree>
      <p:nvGrpSpPr>
        <p:cNvPr id="1" name=""/>
        <p:cNvGrpSpPr/>
        <p:nvPr/>
      </p:nvGrpSpPr>
      <p:grpSpPr>
        <a:xfrm>
          <a:off x="0" y="0"/>
          <a:ext cx="0" cy="0"/>
          <a:chOff x="0" y="0"/>
          <a:chExt cx="0" cy="0"/>
        </a:xfrm>
      </p:grpSpPr>
      <p:sp>
        <p:nvSpPr>
          <p:cNvPr id="34" name="Rectangle 33"/>
          <p:cNvSpPr/>
          <p:nvPr userDrawn="1"/>
        </p:nvSpPr>
        <p:spPr>
          <a:xfrm>
            <a:off x="4903304" y="1126433"/>
            <a:ext cx="7288696" cy="1302295"/>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Rectangle 35"/>
          <p:cNvSpPr/>
          <p:nvPr userDrawn="1"/>
        </p:nvSpPr>
        <p:spPr>
          <a:xfrm>
            <a:off x="4903304" y="2749824"/>
            <a:ext cx="7288696" cy="1302295"/>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p:cNvSpPr/>
          <p:nvPr userDrawn="1"/>
        </p:nvSpPr>
        <p:spPr>
          <a:xfrm>
            <a:off x="4903304" y="4373215"/>
            <a:ext cx="7288696" cy="1302295"/>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8" name="Straight Connector 37"/>
          <p:cNvCxnSpPr/>
          <p:nvPr userDrawn="1"/>
        </p:nvCxnSpPr>
        <p:spPr>
          <a:xfrm>
            <a:off x="6175512" y="1223543"/>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6175512" y="285205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6175512" y="449638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userDrawn="1"/>
        </p:nvPicPr>
        <p:blipFill rotWithShape="1">
          <a:blip r:embed="rId2">
            <a:extLst>
              <a:ext uri="{28A0092B-C50C-407E-A947-70E740481C1C}">
                <a14:useLocalDpi xmlns:a14="http://schemas.microsoft.com/office/drawing/2010/main" val="0"/>
              </a:ext>
            </a:extLst>
          </a:blip>
          <a:srcRect l="29694" t="6763" r="13475" b="6473"/>
          <a:stretch/>
        </p:blipFill>
        <p:spPr>
          <a:xfrm>
            <a:off x="3954456" y="677649"/>
            <a:ext cx="1176669" cy="5446643"/>
          </a:xfrm>
          <a:prstGeom prst="rect">
            <a:avLst/>
          </a:prstGeom>
        </p:spPr>
      </p:pic>
      <p:sp>
        <p:nvSpPr>
          <p:cNvPr id="42" name="Text Placeholder 23"/>
          <p:cNvSpPr>
            <a:spLocks noGrp="1"/>
          </p:cNvSpPr>
          <p:nvPr>
            <p:ph type="body" sz="quarter" idx="13" hasCustomPrompt="1"/>
          </p:nvPr>
        </p:nvSpPr>
        <p:spPr>
          <a:xfrm>
            <a:off x="643223" y="1079254"/>
            <a:ext cx="3821205" cy="697353"/>
          </a:xfrm>
        </p:spPr>
        <p:txBody>
          <a:bodyPr>
            <a:normAutofit/>
          </a:bodyPr>
          <a:lstStyle>
            <a:lvl1pPr marL="0" indent="0" algn="l">
              <a:buNone/>
              <a:defRPr sz="3600">
                <a:solidFill>
                  <a:srgbClr val="003841"/>
                </a:solidFill>
                <a:latin typeface="+mn-lt"/>
              </a:defRPr>
            </a:lvl1pPr>
          </a:lstStyle>
          <a:p>
            <a:pPr lvl="0"/>
            <a:r>
              <a:rPr lang="en-GB" dirty="0"/>
              <a:t>TITLE</a:t>
            </a:r>
          </a:p>
        </p:txBody>
      </p:sp>
      <p:sp>
        <p:nvSpPr>
          <p:cNvPr id="43" name="Text Placeholder 25"/>
          <p:cNvSpPr>
            <a:spLocks noGrp="1"/>
          </p:cNvSpPr>
          <p:nvPr>
            <p:ph type="body" sz="quarter" idx="14" hasCustomPrompt="1"/>
          </p:nvPr>
        </p:nvSpPr>
        <p:spPr>
          <a:xfrm>
            <a:off x="643223" y="2087287"/>
            <a:ext cx="3821205" cy="3642009"/>
          </a:xfrm>
        </p:spPr>
        <p:txBody>
          <a:bodyPr>
            <a:noAutofit/>
          </a:bodyPr>
          <a:lstStyle>
            <a:lvl1pPr marL="0" indent="0" algn="l">
              <a:buNone/>
              <a:defRPr sz="3000">
                <a:solidFill>
                  <a:srgbClr val="00384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sp>
        <p:nvSpPr>
          <p:cNvPr id="44" name="Text Placeholder 23"/>
          <p:cNvSpPr>
            <a:spLocks noGrp="1"/>
          </p:cNvSpPr>
          <p:nvPr>
            <p:ph type="body" sz="quarter" idx="15" hasCustomPrompt="1"/>
          </p:nvPr>
        </p:nvSpPr>
        <p:spPr>
          <a:xfrm>
            <a:off x="4975024" y="1126433"/>
            <a:ext cx="1176670" cy="1292995"/>
          </a:xfrm>
        </p:spPr>
        <p:txBody>
          <a:bodyPr anchor="ctr">
            <a:normAutofit/>
          </a:bodyPr>
          <a:lstStyle>
            <a:lvl1pPr marL="0" indent="0" algn="ctr">
              <a:buNone/>
              <a:defRPr sz="4800">
                <a:solidFill>
                  <a:schemeClr val="bg1"/>
                </a:solidFill>
                <a:latin typeface="+mn-lt"/>
              </a:defRPr>
            </a:lvl1pPr>
          </a:lstStyle>
          <a:p>
            <a:pPr lvl="0"/>
            <a:r>
              <a:rPr lang="en-GB" dirty="0"/>
              <a:t>01</a:t>
            </a:r>
          </a:p>
        </p:txBody>
      </p:sp>
      <p:sp>
        <p:nvSpPr>
          <p:cNvPr id="45" name="Text Placeholder 2"/>
          <p:cNvSpPr>
            <a:spLocks noGrp="1"/>
          </p:cNvSpPr>
          <p:nvPr>
            <p:ph type="body" sz="quarter" idx="12" hasCustomPrompt="1"/>
          </p:nvPr>
        </p:nvSpPr>
        <p:spPr>
          <a:xfrm>
            <a:off x="6271051" y="1126433"/>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cxnSp>
        <p:nvCxnSpPr>
          <p:cNvPr id="51" name="Straight Connector 50"/>
          <p:cNvCxnSpPr/>
          <p:nvPr userDrawn="1"/>
        </p:nvCxnSpPr>
        <p:spPr>
          <a:xfrm>
            <a:off x="417209" y="1920386"/>
            <a:ext cx="42875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52" name="Text Placeholder 23"/>
          <p:cNvSpPr>
            <a:spLocks noGrp="1"/>
          </p:cNvSpPr>
          <p:nvPr>
            <p:ph type="body" sz="quarter" idx="16" hasCustomPrompt="1"/>
          </p:nvPr>
        </p:nvSpPr>
        <p:spPr>
          <a:xfrm>
            <a:off x="4998842" y="2740524"/>
            <a:ext cx="1176670" cy="1292995"/>
          </a:xfrm>
        </p:spPr>
        <p:txBody>
          <a:bodyPr anchor="ctr">
            <a:normAutofit/>
          </a:bodyPr>
          <a:lstStyle>
            <a:lvl1pPr marL="0" indent="0" algn="ctr">
              <a:buNone/>
              <a:defRPr sz="4800">
                <a:solidFill>
                  <a:schemeClr val="bg1"/>
                </a:solidFill>
                <a:latin typeface="+mn-lt"/>
              </a:defRPr>
            </a:lvl1pPr>
          </a:lstStyle>
          <a:p>
            <a:pPr lvl="0"/>
            <a:r>
              <a:rPr lang="en-GB" dirty="0"/>
              <a:t>02</a:t>
            </a:r>
          </a:p>
        </p:txBody>
      </p:sp>
      <p:sp>
        <p:nvSpPr>
          <p:cNvPr id="53" name="Text Placeholder 2"/>
          <p:cNvSpPr>
            <a:spLocks noGrp="1"/>
          </p:cNvSpPr>
          <p:nvPr>
            <p:ph type="body" sz="quarter" idx="17" hasCustomPrompt="1"/>
          </p:nvPr>
        </p:nvSpPr>
        <p:spPr>
          <a:xfrm>
            <a:off x="6294869" y="2740524"/>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54" name="Text Placeholder 23"/>
          <p:cNvSpPr>
            <a:spLocks noGrp="1"/>
          </p:cNvSpPr>
          <p:nvPr>
            <p:ph type="body" sz="quarter" idx="18" hasCustomPrompt="1"/>
          </p:nvPr>
        </p:nvSpPr>
        <p:spPr>
          <a:xfrm>
            <a:off x="4968894" y="4387646"/>
            <a:ext cx="1176670" cy="1292995"/>
          </a:xfrm>
        </p:spPr>
        <p:txBody>
          <a:bodyPr anchor="ctr">
            <a:normAutofit/>
          </a:bodyPr>
          <a:lstStyle>
            <a:lvl1pPr marL="0" indent="0" algn="ctr">
              <a:buNone/>
              <a:defRPr sz="4800">
                <a:solidFill>
                  <a:schemeClr val="bg1"/>
                </a:solidFill>
                <a:latin typeface="+mn-lt"/>
              </a:defRPr>
            </a:lvl1pPr>
          </a:lstStyle>
          <a:p>
            <a:pPr lvl="0"/>
            <a:r>
              <a:rPr lang="en-GB" dirty="0"/>
              <a:t>03</a:t>
            </a:r>
          </a:p>
        </p:txBody>
      </p:sp>
      <p:sp>
        <p:nvSpPr>
          <p:cNvPr id="55" name="Text Placeholder 2"/>
          <p:cNvSpPr>
            <a:spLocks noGrp="1"/>
          </p:cNvSpPr>
          <p:nvPr>
            <p:ph type="body" sz="quarter" idx="19" hasCustomPrompt="1"/>
          </p:nvPr>
        </p:nvSpPr>
        <p:spPr>
          <a:xfrm>
            <a:off x="6264921" y="4387646"/>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grpSp>
        <p:nvGrpSpPr>
          <p:cNvPr id="25" name="Group 24">
            <a:extLst>
              <a:ext uri="{FF2B5EF4-FFF2-40B4-BE49-F238E27FC236}">
                <a16:creationId xmlns:a16="http://schemas.microsoft.com/office/drawing/2014/main" xmlns="" id="{989948AA-CBBD-C14B-92BE-5E35489505D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4462787E-418A-9941-9477-9D876104E4E0}"/>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E9375A0E-E034-AE4E-8CEA-0882FAE0CF1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75FF4D26-5450-AF43-B106-5549C62527F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ptop slide 1">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9307" b="5574"/>
          <a:stretch/>
        </p:blipFill>
        <p:spPr>
          <a:xfrm>
            <a:off x="2000190" y="1447737"/>
            <a:ext cx="7941283" cy="4839954"/>
          </a:xfrm>
          <a:prstGeom prst="rect">
            <a:avLst/>
          </a:prstGeom>
        </p:spPr>
      </p:pic>
      <p:sp>
        <p:nvSpPr>
          <p:cNvPr id="25" name="Text Placeholder 23"/>
          <p:cNvSpPr>
            <a:spLocks noGrp="1"/>
          </p:cNvSpPr>
          <p:nvPr>
            <p:ph type="body" sz="quarter" idx="13" hasCustomPrompt="1"/>
          </p:nvPr>
        </p:nvSpPr>
        <p:spPr>
          <a:xfrm>
            <a:off x="0" y="213464"/>
            <a:ext cx="12192000" cy="704485"/>
          </a:xfrm>
        </p:spPr>
        <p:txBody>
          <a:bodyPr>
            <a:normAutofit/>
          </a:bodyPr>
          <a:lstStyle>
            <a:lvl1pPr marL="0" indent="0" algn="ctr">
              <a:buNone/>
              <a:defRPr sz="3600">
                <a:solidFill>
                  <a:srgbClr val="245473"/>
                </a:solidFill>
                <a:latin typeface="+mn-lt"/>
              </a:defRPr>
            </a:lvl1pPr>
          </a:lstStyle>
          <a:p>
            <a:pPr lvl="0"/>
            <a:r>
              <a:rPr lang="en-GB" dirty="0"/>
              <a:t>TITLE</a:t>
            </a:r>
          </a:p>
        </p:txBody>
      </p:sp>
      <p:sp>
        <p:nvSpPr>
          <p:cNvPr id="26" name="Text Placeholder 25"/>
          <p:cNvSpPr>
            <a:spLocks noGrp="1"/>
          </p:cNvSpPr>
          <p:nvPr>
            <p:ph type="body" sz="quarter" idx="14" hasCustomPrompt="1"/>
          </p:nvPr>
        </p:nvSpPr>
        <p:spPr>
          <a:xfrm>
            <a:off x="0" y="1045042"/>
            <a:ext cx="12192000" cy="590599"/>
          </a:xfrm>
        </p:spPr>
        <p:txBody>
          <a:bodyPr>
            <a:noAutofit/>
          </a:bodyPr>
          <a:lstStyle>
            <a:lvl1pPr marL="0" indent="0" algn="ctr">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cxnSp>
        <p:nvCxnSpPr>
          <p:cNvPr id="27" name="Straight Connector 26"/>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3184071" y="1893434"/>
            <a:ext cx="5665788" cy="3478212"/>
          </a:xfrm>
          <a:prstGeom prst="rect">
            <a:avLst/>
          </a:prstGeom>
        </p:spPr>
        <p:txBody>
          <a:bodyPr anchor="t"/>
          <a:lstStyle>
            <a:lvl1pPr marL="228600" marR="0" indent="-228600" algn="ctr" defTabSz="914400" rtl="0" eaLnBrk="1" fontAlgn="auto" latinLnBrk="0" hangingPunct="1">
              <a:lnSpc>
                <a:spcPct val="90000"/>
              </a:lnSpc>
              <a:spcBef>
                <a:spcPts val="1000"/>
              </a:spcBef>
              <a:spcAft>
                <a:spcPts val="0"/>
              </a:spcAft>
              <a:buClrTx/>
              <a:buSzTx/>
              <a:buFont typeface="Arial"/>
              <a:buNone/>
              <a:tabLst/>
              <a:defRPr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GB" dirty="0"/>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grpSp>
        <p:nvGrpSpPr>
          <p:cNvPr id="11" name="Group 10">
            <a:extLst>
              <a:ext uri="{FF2B5EF4-FFF2-40B4-BE49-F238E27FC236}">
                <a16:creationId xmlns:a16="http://schemas.microsoft.com/office/drawing/2014/main" xmlns="" id="{E0A6F1FA-0C26-DC41-8655-91FA123EECE6}"/>
              </a:ext>
            </a:extLst>
          </p:cNvPr>
          <p:cNvGrpSpPr/>
          <p:nvPr userDrawn="1"/>
        </p:nvGrpSpPr>
        <p:grpSpPr>
          <a:xfrm>
            <a:off x="5518067" y="6320337"/>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57D96B86-6B0A-6C48-9117-F9878D3E8229}"/>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C342E5B8-E967-FE44-A3B4-8715184E25C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3E8915E-46EB-7448-8184-ECBF4290DFB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ptop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49050" b="5574"/>
          <a:stretch/>
        </p:blipFill>
        <p:spPr>
          <a:xfrm>
            <a:off x="7429500" y="740153"/>
            <a:ext cx="4762500" cy="5612853"/>
          </a:xfrm>
          <a:prstGeom prst="rect">
            <a:avLst/>
          </a:prstGeom>
        </p:spPr>
      </p:pic>
      <p:cxnSp>
        <p:nvCxnSpPr>
          <p:cNvPr id="27" name="Straight Connector 26"/>
          <p:cNvCxnSpPr/>
          <p:nvPr userDrawn="1"/>
        </p:nvCxnSpPr>
        <p:spPr>
          <a:xfrm flipH="1">
            <a:off x="378379" y="1908558"/>
            <a:ext cx="678986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8802435" y="1223694"/>
            <a:ext cx="3389565" cy="4033653"/>
          </a:xfrm>
          <a:prstGeom prst="rect">
            <a:avLst/>
          </a:prstGeo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GB" dirty="0"/>
              <a:t>Click here to add photo</a:t>
            </a:r>
          </a:p>
        </p:txBody>
      </p:sp>
      <p:sp>
        <p:nvSpPr>
          <p:cNvPr id="9" name="Text Placeholder 23"/>
          <p:cNvSpPr>
            <a:spLocks noGrp="1"/>
          </p:cNvSpPr>
          <p:nvPr>
            <p:ph type="body" sz="quarter" idx="16" hasCustomPrompt="1"/>
          </p:nvPr>
        </p:nvSpPr>
        <p:spPr>
          <a:xfrm>
            <a:off x="643223" y="1079254"/>
            <a:ext cx="6361734"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0" name="Text Placeholder 25"/>
          <p:cNvSpPr>
            <a:spLocks noGrp="1"/>
          </p:cNvSpPr>
          <p:nvPr>
            <p:ph type="body" sz="quarter" idx="17" hasCustomPrompt="1"/>
          </p:nvPr>
        </p:nvSpPr>
        <p:spPr>
          <a:xfrm>
            <a:off x="643223" y="2087287"/>
            <a:ext cx="6361734"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15" name="Group 14">
            <a:extLst>
              <a:ext uri="{FF2B5EF4-FFF2-40B4-BE49-F238E27FC236}">
                <a16:creationId xmlns:a16="http://schemas.microsoft.com/office/drawing/2014/main" xmlns="" id="{DD0BC517-456F-7141-A924-632CB3E2CFCF}"/>
              </a:ext>
            </a:extLst>
          </p:cNvPr>
          <p:cNvGrpSpPr/>
          <p:nvPr userDrawn="1"/>
        </p:nvGrpSpPr>
        <p:grpSpPr>
          <a:xfrm>
            <a:off x="1333695" y="6201410"/>
            <a:ext cx="2312384" cy="332623"/>
            <a:chOff x="10743787" y="6308250"/>
            <a:chExt cx="1112954" cy="572290"/>
          </a:xfrm>
        </p:grpSpPr>
        <p:sp>
          <p:nvSpPr>
            <p:cNvPr id="16" name="テキスト プレースホルダー 36">
              <a:extLst>
                <a:ext uri="{FF2B5EF4-FFF2-40B4-BE49-F238E27FC236}">
                  <a16:creationId xmlns:a16="http://schemas.microsoft.com/office/drawing/2014/main" xmlns="" id="{0320CDBB-83D1-8448-943D-2ABED1F37747}"/>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17899FB0-757D-A14A-93A5-73888B0D1B0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8" name="Picture 17">
            <a:extLst>
              <a:ext uri="{FF2B5EF4-FFF2-40B4-BE49-F238E27FC236}">
                <a16:creationId xmlns:a16="http://schemas.microsoft.com/office/drawing/2014/main" xmlns="" id="{F57E134D-C955-264C-925F-9CA3130C061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ne Slide 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3425" t="-1173" r="6562" b="12394"/>
          <a:stretch/>
        </p:blipFill>
        <p:spPr>
          <a:xfrm>
            <a:off x="2449287" y="1355271"/>
            <a:ext cx="9742714" cy="5502729"/>
          </a:xfrm>
          <a:prstGeom prst="rect">
            <a:avLst/>
          </a:prstGeom>
        </p:spPr>
      </p:pic>
      <p:sp>
        <p:nvSpPr>
          <p:cNvPr id="6" name="Picture Placeholder 5"/>
          <p:cNvSpPr>
            <a:spLocks noGrp="1"/>
          </p:cNvSpPr>
          <p:nvPr>
            <p:ph type="pic" sz="quarter" idx="18" hasCustomPrompt="1"/>
          </p:nvPr>
        </p:nvSpPr>
        <p:spPr>
          <a:xfrm>
            <a:off x="3731480" y="2335213"/>
            <a:ext cx="4098925" cy="2628900"/>
          </a:xfr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r>
              <a:rPr lang="en-GB" dirty="0"/>
              <a:t>Click here to add photo</a:t>
            </a:r>
          </a:p>
        </p:txBody>
      </p:sp>
      <p:sp>
        <p:nvSpPr>
          <p:cNvPr id="14" name="Text Placeholder 23"/>
          <p:cNvSpPr>
            <a:spLocks noGrp="1"/>
          </p:cNvSpPr>
          <p:nvPr>
            <p:ph type="body" sz="quarter" idx="13" hasCustomPrompt="1"/>
          </p:nvPr>
        </p:nvSpPr>
        <p:spPr>
          <a:xfrm>
            <a:off x="0" y="213464"/>
            <a:ext cx="12192000" cy="612789"/>
          </a:xfrm>
        </p:spPr>
        <p:txBody>
          <a:bodyPr>
            <a:normAutofit/>
          </a:bodyPr>
          <a:lstStyle>
            <a:lvl1pPr marL="0" indent="0" algn="ctr">
              <a:buNone/>
              <a:defRPr sz="3600">
                <a:solidFill>
                  <a:srgbClr val="245473"/>
                </a:solidFill>
                <a:latin typeface="+mn-lt"/>
              </a:defRPr>
            </a:lvl1pPr>
          </a:lstStyle>
          <a:p>
            <a:pPr lvl="0"/>
            <a:r>
              <a:rPr lang="en-GB" dirty="0"/>
              <a:t>TITLE</a:t>
            </a:r>
          </a:p>
        </p:txBody>
      </p:sp>
      <p:cxnSp>
        <p:nvCxnSpPr>
          <p:cNvPr id="15" name="Straight Connector 14"/>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xmlns="" id="{D50C09CE-150B-1545-834E-9F744082CCBD}"/>
              </a:ext>
            </a:extLst>
          </p:cNvPr>
          <p:cNvGrpSpPr/>
          <p:nvPr userDrawn="1"/>
        </p:nvGrpSpPr>
        <p:grpSpPr>
          <a:xfrm>
            <a:off x="1333695" y="6201410"/>
            <a:ext cx="2312384" cy="332623"/>
            <a:chOff x="10743787" y="6308250"/>
            <a:chExt cx="1112954" cy="572290"/>
          </a:xfrm>
        </p:grpSpPr>
        <p:sp>
          <p:nvSpPr>
            <p:cNvPr id="20" name="テキスト プレースホルダー 36">
              <a:extLst>
                <a:ext uri="{FF2B5EF4-FFF2-40B4-BE49-F238E27FC236}">
                  <a16:creationId xmlns:a16="http://schemas.microsoft.com/office/drawing/2014/main" xmlns="" id="{54145B1F-2E18-004B-95E2-AA351E7F268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E7BCCF47-B227-444D-8FAF-446A6A1B2A3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9ADB7EDC-1B77-1944-9C10-35326A685AB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ne Slid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3454" b="8248"/>
          <a:stretch/>
        </p:blipFill>
        <p:spPr>
          <a:xfrm>
            <a:off x="6890657" y="550299"/>
            <a:ext cx="5479143" cy="6292294"/>
          </a:xfrm>
          <a:prstGeom prst="rect">
            <a:avLst/>
          </a:prstGeom>
        </p:spPr>
      </p:pic>
      <p:sp>
        <p:nvSpPr>
          <p:cNvPr id="7" name="Picture Placeholder 6"/>
          <p:cNvSpPr>
            <a:spLocks noGrp="1"/>
          </p:cNvSpPr>
          <p:nvPr>
            <p:ph type="pic" sz="quarter" idx="14" hasCustomPrompt="1"/>
          </p:nvPr>
        </p:nvSpPr>
        <p:spPr>
          <a:xfrm>
            <a:off x="7754938" y="1192681"/>
            <a:ext cx="2187575" cy="3886200"/>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a:buNone/>
              <a:tabLst/>
              <a:defRPr>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cxnSp>
        <p:nvCxnSpPr>
          <p:cNvPr id="11" name="Straight Connector 10"/>
          <p:cNvCxnSpPr/>
          <p:nvPr userDrawn="1"/>
        </p:nvCxnSpPr>
        <p:spPr>
          <a:xfrm flipH="1">
            <a:off x="378380" y="1908558"/>
            <a:ext cx="634899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12" name="Text Placeholder 23"/>
          <p:cNvSpPr>
            <a:spLocks noGrp="1"/>
          </p:cNvSpPr>
          <p:nvPr>
            <p:ph type="body" sz="quarter" idx="16" hasCustomPrompt="1"/>
          </p:nvPr>
        </p:nvSpPr>
        <p:spPr>
          <a:xfrm>
            <a:off x="643223" y="1079254"/>
            <a:ext cx="5839220"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3" name="Text Placeholder 25"/>
          <p:cNvSpPr>
            <a:spLocks noGrp="1"/>
          </p:cNvSpPr>
          <p:nvPr>
            <p:ph type="body" sz="quarter" idx="17" hasCustomPrompt="1"/>
          </p:nvPr>
        </p:nvSpPr>
        <p:spPr>
          <a:xfrm>
            <a:off x="643223" y="2087287"/>
            <a:ext cx="5839220"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22" name="Group 21">
            <a:extLst>
              <a:ext uri="{FF2B5EF4-FFF2-40B4-BE49-F238E27FC236}">
                <a16:creationId xmlns:a16="http://schemas.microsoft.com/office/drawing/2014/main" xmlns="" id="{D7E0608D-7566-AA4E-B01B-F061E8FF1E95}"/>
              </a:ext>
            </a:extLst>
          </p:cNvPr>
          <p:cNvGrpSpPr/>
          <p:nvPr userDrawn="1"/>
        </p:nvGrpSpPr>
        <p:grpSpPr>
          <a:xfrm>
            <a:off x="1333695" y="6201410"/>
            <a:ext cx="2312384" cy="332623"/>
            <a:chOff x="10743787" y="6308250"/>
            <a:chExt cx="1112954" cy="572290"/>
          </a:xfrm>
        </p:grpSpPr>
        <p:sp>
          <p:nvSpPr>
            <p:cNvPr id="23" name="テキスト プレースホルダー 36">
              <a:extLst>
                <a:ext uri="{FF2B5EF4-FFF2-40B4-BE49-F238E27FC236}">
                  <a16:creationId xmlns:a16="http://schemas.microsoft.com/office/drawing/2014/main" xmlns="" id="{574E3CAE-CAD4-194A-A3A8-6091ABEC82DD}"/>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4" name="テキスト プレースホルダー 36">
              <a:extLst>
                <a:ext uri="{FF2B5EF4-FFF2-40B4-BE49-F238E27FC236}">
                  <a16:creationId xmlns:a16="http://schemas.microsoft.com/office/drawing/2014/main" xmlns="" id="{284FE727-10B8-7A43-869F-02CC45E0FBB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5" name="Picture 24">
            <a:extLst>
              <a:ext uri="{FF2B5EF4-FFF2-40B4-BE49-F238E27FC236}">
                <a16:creationId xmlns:a16="http://schemas.microsoft.com/office/drawing/2014/main" xmlns="" id="{C3936FA9-2599-7640-9592-1C00528DD49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642951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hank you slide">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image" Target="../media/image6.emf"/><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vmlDrawing" Target="../drawings/vmlDrawing1.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oleObject" Target="../embeddings/oleObject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ags" Target="../tags/tag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D1C3AD27-03AF-4F32-9FA6-4F6362CEADD8}"/>
              </a:ext>
            </a:extLst>
          </p:cNvPr>
          <p:cNvGraphicFramePr>
            <a:graphicFrameLocks noChangeAspect="1"/>
          </p:cNvGraphicFramePr>
          <p:nvPr userDrawn="1">
            <p:custDataLst>
              <p:tags r:id="rId30"/>
            </p:custDataLst>
            <p:extLst>
              <p:ext uri="{D42A27DB-BD31-4B8C-83A1-F6EECF244321}">
                <p14:modId xmlns:p14="http://schemas.microsoft.com/office/powerpoint/2010/main" val="292298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32" imgW="592" imgH="595" progId="TCLayout.ActiveDocument.1">
                  <p:embed/>
                </p:oleObj>
              </mc:Choice>
              <mc:Fallback>
                <p:oleObj name="think-cell Folie" r:id="rId32" imgW="592" imgH="595" progId="TCLayout.ActiveDocument.1">
                  <p:embed/>
                  <p:pic>
                    <p:nvPicPr>
                      <p:cNvPr id="8" name="Objekt 7" hidden="1">
                        <a:extLst>
                          <a:ext uri="{FF2B5EF4-FFF2-40B4-BE49-F238E27FC236}">
                            <a16:creationId xmlns:a16="http://schemas.microsoft.com/office/drawing/2014/main" xmlns="" id="{D1C3AD27-03AF-4F32-9FA6-4F6362CEADD8}"/>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xmlns="" id="{7F3C3D9B-4C94-4F53-AFA7-4E8D66EBA981}"/>
              </a:ext>
            </a:extLst>
          </p:cNvPr>
          <p:cNvSpPr/>
          <p:nvPr userDrawn="1">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587680-F485-A944-B74B-98B26E054E49}" type="datetimeFigureOut">
              <a:rPr lang="en-US" smtClean="0"/>
              <a:t>4/21/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004C27-DD68-9D4F-8D80-21602C2A289B}" type="slidenum">
              <a:rPr lang="en-US" smtClean="0"/>
              <a:t>‹#›</a:t>
            </a:fld>
            <a:endParaRPr lang="en-US" dirty="0"/>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722" r:id="rId1"/>
    <p:sldLayoutId id="2147483760" r:id="rId2"/>
    <p:sldLayoutId id="2147483714" r:id="rId3"/>
    <p:sldLayoutId id="2147483762" r:id="rId4"/>
    <p:sldLayoutId id="2147483767" r:id="rId5"/>
    <p:sldLayoutId id="2147483742" r:id="rId6"/>
    <p:sldLayoutId id="2147483769" r:id="rId7"/>
    <p:sldLayoutId id="2147483770" r:id="rId8"/>
    <p:sldLayoutId id="2147483743" r:id="rId9"/>
    <p:sldLayoutId id="2147483710" r:id="rId10"/>
    <p:sldLayoutId id="2147483745" r:id="rId11"/>
    <p:sldLayoutId id="2147483707" r:id="rId12"/>
    <p:sldLayoutId id="2147483744" r:id="rId13"/>
    <p:sldLayoutId id="2147483763" r:id="rId14"/>
    <p:sldLayoutId id="2147483768" r:id="rId15"/>
    <p:sldLayoutId id="2147483765" r:id="rId16"/>
    <p:sldLayoutId id="2147483766" r:id="rId17"/>
    <p:sldLayoutId id="2147483746" r:id="rId18"/>
    <p:sldLayoutId id="2147483734" r:id="rId19"/>
    <p:sldLayoutId id="2147483747" r:id="rId20"/>
    <p:sldLayoutId id="2147483748" r:id="rId21"/>
    <p:sldLayoutId id="2147483749" r:id="rId22"/>
    <p:sldLayoutId id="2147483750" r:id="rId23"/>
    <p:sldLayoutId id="2147483751" r:id="rId24"/>
    <p:sldLayoutId id="2147483752" r:id="rId25"/>
    <p:sldLayoutId id="2147483687" r:id="rId26"/>
    <p:sldLayoutId id="2147483764" r:id="rId27"/>
  </p:sldLayoutIdLst>
  <p:txStyles>
    <p:titleStyle>
      <a:lvl1pPr algn="l" defTabSz="914400"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1.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notesSlide" Target="../notesSlides/notesSlide20.xml"/><Relationship Id="rId5" Type="http://schemas.openxmlformats.org/officeDocument/2006/relationships/slideLayout" Target="../slideLayouts/slideLayout20.xml"/><Relationship Id="rId4" Type="http://schemas.openxmlformats.org/officeDocument/2006/relationships/tags" Target="../tags/tag16.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0.xml"/><Relationship Id="rId7" Type="http://schemas.openxmlformats.org/officeDocument/2006/relationships/image" Target="../media/image12.png"/><Relationship Id="rId2" Type="http://schemas.openxmlformats.org/officeDocument/2006/relationships/tags" Target="../tags/tag21.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34.xml"/><Relationship Id="rId9" Type="http://schemas.openxmlformats.org/officeDocument/2006/relationships/image" Target="../media/image13.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1" y="4930199"/>
            <a:ext cx="10598580" cy="697353"/>
          </a:xfrm>
        </p:spPr>
        <p:txBody>
          <a:bodyPr/>
          <a:lstStyle/>
          <a:p>
            <a:r>
              <a:rPr lang="en-GB" sz="4400" dirty="0"/>
              <a:t>The Strategic Side of Restructuring</a:t>
            </a:r>
          </a:p>
          <a:p>
            <a:endParaRPr lang="en-GB" dirty="0"/>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odule 5 </a:t>
            </a:r>
          </a:p>
        </p:txBody>
      </p:sp>
      <p:sp>
        <p:nvSpPr>
          <p:cNvPr id="5" name="TextBox 4">
            <a:extLst>
              <a:ext uri="{FF2B5EF4-FFF2-40B4-BE49-F238E27FC236}">
                <a16:creationId xmlns:a16="http://schemas.microsoft.com/office/drawing/2014/main" xmlns="" id="{3359A628-8E35-4C70-A01B-121CB2788F53}"/>
              </a:ext>
            </a:extLst>
          </p:cNvPr>
          <p:cNvSpPr txBox="1"/>
          <p:nvPr/>
        </p:nvSpPr>
        <p:spPr>
          <a:xfrm>
            <a:off x="826409" y="5934670"/>
            <a:ext cx="10194903" cy="1477328"/>
          </a:xfrm>
          <a:prstGeom prst="rect">
            <a:avLst/>
          </a:prstGeom>
          <a:noFill/>
        </p:spPr>
        <p:txBody>
          <a:bodyPr wrap="square">
            <a:spAutoFit/>
          </a:bodyPr>
          <a:lstStyle/>
          <a:p>
            <a:r>
              <a:rPr lang="en-GB"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p>
          <a:p>
            <a:r>
              <a:rPr lang="en-GB"/>
              <a:t> </a:t>
            </a:r>
          </a:p>
          <a:p>
            <a:endParaRPr lang="en-IE" sz="1800" dirty="0">
              <a:solidFill>
                <a:schemeClr val="bg1"/>
              </a:solidFill>
            </a:endParaRPr>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52114" y="416369"/>
            <a:ext cx="9448543" cy="1151174"/>
          </a:xfrm>
        </p:spPr>
        <p:txBody>
          <a:bodyPr>
            <a:normAutofit/>
          </a:bodyPr>
          <a:lstStyle/>
          <a:p>
            <a:r>
              <a:rPr lang="en-GB" dirty="0"/>
              <a:t>Content of Restructuring Concepts</a:t>
            </a:r>
          </a:p>
          <a:p>
            <a:r>
              <a:rPr lang="en-GB" sz="2800" dirty="0"/>
              <a:t>1. </a:t>
            </a:r>
            <a:r>
              <a:rPr lang="en-GB" sz="2800" b="1" dirty="0">
                <a:latin typeface="+mj-lt"/>
              </a:rPr>
              <a:t>Analysis of the industry development</a:t>
            </a:r>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8923" y="1756255"/>
            <a:ext cx="3543176" cy="49452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1800" dirty="0">
                <a:solidFill>
                  <a:srgbClr val="245473"/>
                </a:solidFill>
                <a:latin typeface="+mj-lt"/>
                <a:ea typeface="Open Sans Light" panose="020B0306030504020204" pitchFamily="34" charset="0"/>
                <a:cs typeface="Open Sans Light" panose="020B0306030504020204" pitchFamily="34" charset="0"/>
              </a:rPr>
              <a:t>Industry analysis is a tool that facilitates a company's understanding of its position relative to other companies that produce similar products or services. Understanding the forces at work in the overall industry is an important component of effective strategic planning.</a:t>
            </a:r>
            <a:endParaRPr lang="en-US" sz="1800" dirty="0">
              <a:solidFill>
                <a:srgbClr val="245473"/>
              </a:solidFill>
            </a:endParaRPr>
          </a:p>
          <a:p>
            <a:pPr marL="285750" indent="-285750" algn="l">
              <a:lnSpc>
                <a:spcPct val="100000"/>
              </a:lnSpc>
              <a:spcBef>
                <a:spcPts val="600"/>
              </a:spcBef>
              <a:buFont typeface="Wingdings" panose="05000000000000000000" pitchFamily="2" charset="2"/>
              <a:buChar char="à"/>
            </a:pP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nderstanding the key developments in the industry is </a:t>
            </a:r>
            <a:b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b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of particular importance for sustainable restructuring.</a:t>
            </a:r>
            <a:endParaRPr lang="en-US" sz="1800" b="1"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Only if the relevant trends </a:t>
            </a:r>
            <a:r>
              <a:rPr lang="en-US" sz="1800" b="1" dirty="0">
                <a:solidFill>
                  <a:srgbClr val="245473"/>
                </a:solidFill>
                <a:latin typeface="+mj-lt"/>
                <a:ea typeface="Open Sans Light" panose="020B0306030504020204" pitchFamily="34" charset="0"/>
                <a:cs typeface="Open Sans Light" panose="020B0306030504020204" pitchFamily="34" charset="0"/>
              </a:rPr>
              <a:t/>
            </a:r>
            <a:br>
              <a:rPr lang="en-US" sz="1800" b="1" dirty="0">
                <a:solidFill>
                  <a:srgbClr val="245473"/>
                </a:solidFill>
                <a:latin typeface="+mj-lt"/>
                <a:ea typeface="Open Sans Light" panose="020B0306030504020204" pitchFamily="34" charset="0"/>
                <a:cs typeface="Open Sans Light" panose="020B0306030504020204" pitchFamily="34" charset="0"/>
              </a:rPr>
            </a:b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re taken into account can restructuring have </a:t>
            </a:r>
            <a:b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b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 lasting effect.</a:t>
            </a:r>
            <a:endParaRPr lang="en-GB" sz="1800" b="1" dirty="0">
              <a:solidFill>
                <a:srgbClr val="245473"/>
              </a:solidFill>
              <a:latin typeface="+mj-lt"/>
              <a:ea typeface="Open Sans Light" panose="020B0306030504020204" pitchFamily="34" charset="0"/>
              <a:cs typeface="Open Sans Light" panose="020B0306030504020204" pitchFamily="34" charset="0"/>
            </a:endParaRP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9467745" y="3938431"/>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tio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graphicFrame>
        <p:nvGraphicFramePr>
          <p:cNvPr id="9" name="object 9">
            <a:extLst>
              <a:ext uri="{FF2B5EF4-FFF2-40B4-BE49-F238E27FC236}">
                <a16:creationId xmlns:a16="http://schemas.microsoft.com/office/drawing/2014/main" xmlns="" id="{4084F88F-310F-4939-89AE-ABB1BEA6E22B}"/>
              </a:ext>
            </a:extLst>
          </p:cNvPr>
          <p:cNvGraphicFramePr>
            <a:graphicFrameLocks noGrp="1"/>
          </p:cNvGraphicFramePr>
          <p:nvPr>
            <p:extLst>
              <p:ext uri="{D42A27DB-BD31-4B8C-83A1-F6EECF244321}">
                <p14:modId xmlns:p14="http://schemas.microsoft.com/office/powerpoint/2010/main" val="1281158085"/>
              </p:ext>
            </p:extLst>
          </p:nvPr>
        </p:nvGraphicFramePr>
        <p:xfrm>
          <a:off x="3831771" y="1956011"/>
          <a:ext cx="8181306" cy="4216400"/>
        </p:xfrm>
        <a:graphic>
          <a:graphicData uri="http://schemas.openxmlformats.org/drawingml/2006/table">
            <a:tbl>
              <a:tblPr firstRow="1" bandRow="1">
                <a:tableStyleId>{72833802-FEF1-4C79-8D5D-14CF1EAF98D9}</a:tableStyleId>
              </a:tblPr>
              <a:tblGrid>
                <a:gridCol w="4064069">
                  <a:extLst>
                    <a:ext uri="{9D8B030D-6E8A-4147-A177-3AD203B41FA5}">
                      <a16:colId xmlns:a16="http://schemas.microsoft.com/office/drawing/2014/main" xmlns="" val="20000"/>
                    </a:ext>
                  </a:extLst>
                </a:gridCol>
                <a:gridCol w="4117237">
                  <a:extLst>
                    <a:ext uri="{9D8B030D-6E8A-4147-A177-3AD203B41FA5}">
                      <a16:colId xmlns:a16="http://schemas.microsoft.com/office/drawing/2014/main" xmlns="" val="20001"/>
                    </a:ext>
                  </a:extLst>
                </a:gridCol>
              </a:tblGrid>
              <a:tr h="422598">
                <a:tc gridSpan="2">
                  <a:txBody>
                    <a:bodyPr/>
                    <a:lstStyle/>
                    <a:p>
                      <a:pPr marL="91440">
                        <a:lnSpc>
                          <a:spcPct val="100000"/>
                        </a:lnSpc>
                        <a:spcBef>
                          <a:spcPts val="745"/>
                        </a:spcBef>
                      </a:pPr>
                      <a:r>
                        <a:rPr lang="en-GB" sz="2400" b="1" dirty="0">
                          <a:solidFill>
                            <a:srgbClr val="FFFFFF"/>
                          </a:solidFill>
                          <a:latin typeface="+mj-lt"/>
                        </a:rPr>
                        <a:t>Company situation: </a:t>
                      </a:r>
                      <a:r>
                        <a:rPr lang="en-GB" sz="2400" b="1" u="sng" dirty="0">
                          <a:solidFill>
                            <a:srgbClr val="FFFFFF"/>
                          </a:solidFill>
                          <a:latin typeface="+mj-lt"/>
                        </a:rPr>
                        <a:t>Analysis of the industry development</a:t>
                      </a:r>
                      <a:endParaRPr lang="en-GB" sz="2400" u="sng" dirty="0">
                        <a:latin typeface="+mj-lt"/>
                        <a:cs typeface="Arial"/>
                      </a:endParaRPr>
                    </a:p>
                  </a:txBody>
                  <a:tcPr marL="0" marR="0" marT="94615" marB="0"/>
                </a:tc>
                <a:tc hMerge="1">
                  <a:txBody>
                    <a:bodyPr/>
                    <a:lstStyle/>
                    <a:p>
                      <a:endParaRPr/>
                    </a:p>
                  </a:txBody>
                  <a:tcPr marL="0" marR="0" marT="0" marB="0"/>
                </a:tc>
                <a:extLst>
                  <a:ext uri="{0D108BD9-81ED-4DB2-BD59-A6C34878D82A}">
                    <a16:rowId xmlns:a16="http://schemas.microsoft.com/office/drawing/2014/main" xmlns="" val="10000"/>
                  </a:ext>
                </a:extLst>
              </a:tr>
              <a:tr h="638810">
                <a:tc gridSpan="2">
                  <a:txBody>
                    <a:bodyPr/>
                    <a:lstStyle/>
                    <a:p>
                      <a:pPr marL="91440">
                        <a:lnSpc>
                          <a:spcPct val="100000"/>
                        </a:lnSpc>
                        <a:spcBef>
                          <a:spcPts val="800"/>
                        </a:spcBef>
                      </a:pPr>
                      <a:r>
                        <a:rPr lang="en-GB" sz="1800" b="1" spc="-10" dirty="0">
                          <a:solidFill>
                            <a:srgbClr val="245473"/>
                          </a:solidFill>
                          <a:latin typeface="+mj-lt"/>
                          <a:cs typeface="Arial"/>
                        </a:rPr>
                        <a:t>Basis for the derivation of a strategic restructuring plan are the relevant factors and developments in the industry</a:t>
                      </a:r>
                    </a:p>
                  </a:txBody>
                  <a:tcPr marL="0" marR="0" marT="101600" marB="0" anchor="ctr"/>
                </a:tc>
                <a:tc hMerge="1">
                  <a:txBody>
                    <a:bodyPr/>
                    <a:lstStyle/>
                    <a:p>
                      <a:pPr marL="91440">
                        <a:lnSpc>
                          <a:spcPct val="100000"/>
                        </a:lnSpc>
                        <a:spcBef>
                          <a:spcPts val="800"/>
                        </a:spcBef>
                      </a:pPr>
                      <a:endParaRPr lang="en-US" sz="1600" dirty="0">
                        <a:latin typeface="Arial"/>
                        <a:cs typeface="Arial"/>
                      </a:endParaRPr>
                    </a:p>
                  </a:txBody>
                  <a:tcPr marL="0" marR="0" marT="101600" marB="0"/>
                </a:tc>
                <a:extLst>
                  <a:ext uri="{0D108BD9-81ED-4DB2-BD59-A6C34878D82A}">
                    <a16:rowId xmlns:a16="http://schemas.microsoft.com/office/drawing/2014/main" xmlns="" val="10001"/>
                  </a:ext>
                </a:extLst>
              </a:tr>
              <a:tr h="638810">
                <a:tc gridSpan="2">
                  <a:txBody>
                    <a:bodyPr/>
                    <a:lstStyle/>
                    <a:p>
                      <a:pPr marL="91440">
                        <a:lnSpc>
                          <a:spcPct val="100000"/>
                        </a:lnSpc>
                        <a:spcBef>
                          <a:spcPts val="800"/>
                        </a:spcBef>
                      </a:pPr>
                      <a:r>
                        <a:rPr lang="en-GB" sz="1800" b="0" spc="-10" dirty="0">
                          <a:solidFill>
                            <a:srgbClr val="245473"/>
                          </a:solidFill>
                          <a:latin typeface="+mj-lt"/>
                          <a:cs typeface="Arial"/>
                        </a:rPr>
                        <a:t>The analysis of the industry's situation and development should give an indication of the future profitability of the industry and the possible positioning of the crisis company, taking into account the influencing factors</a:t>
                      </a:r>
                    </a:p>
                  </a:txBody>
                  <a:tcPr marL="0" marR="0" marT="6985" marB="0" anchor="ctr"/>
                </a:tc>
                <a:tc hMerge="1">
                  <a:txBody>
                    <a:bodyPr/>
                    <a:lstStyle/>
                    <a:p>
                      <a:pPr marL="91440" marR="565150">
                        <a:lnSpc>
                          <a:spcPts val="1870"/>
                        </a:lnSpc>
                        <a:spcBef>
                          <a:spcPts val="980"/>
                        </a:spcBef>
                      </a:pPr>
                      <a:endParaRPr lang="en-GB" sz="1600" dirty="0">
                        <a:latin typeface="Arial"/>
                        <a:cs typeface="Arial"/>
                      </a:endParaRPr>
                    </a:p>
                  </a:txBody>
                  <a:tcPr marL="0" marR="0" marT="124460" marB="0"/>
                </a:tc>
                <a:extLst>
                  <a:ext uri="{0D108BD9-81ED-4DB2-BD59-A6C34878D82A}">
                    <a16:rowId xmlns:a16="http://schemas.microsoft.com/office/drawing/2014/main" xmlns="" val="10002"/>
                  </a:ext>
                </a:extLst>
              </a:tr>
              <a:tr h="638810">
                <a:tc gridSpan="2">
                  <a:txBody>
                    <a:bodyPr/>
                    <a:lstStyle/>
                    <a:p>
                      <a:pPr marL="91440">
                        <a:lnSpc>
                          <a:spcPct val="100000"/>
                        </a:lnSpc>
                        <a:spcBef>
                          <a:spcPts val="800"/>
                        </a:spcBef>
                      </a:pPr>
                      <a:r>
                        <a:rPr lang="en-GB" sz="1800" dirty="0">
                          <a:solidFill>
                            <a:srgbClr val="245473"/>
                          </a:solidFill>
                          <a:latin typeface="+mj-lt"/>
                          <a:cs typeface="Arial"/>
                        </a:rPr>
                        <a:t>In particular, it must be examined what opportunities and risks arise for U and its current competitive position from the following factors:</a:t>
                      </a:r>
                    </a:p>
                  </a:txBody>
                  <a:tcPr marL="0" marR="0" marT="101600" marB="0" anchor="ctr"/>
                </a:tc>
                <a:tc hMerge="1">
                  <a:txBody>
                    <a:bodyPr/>
                    <a:lstStyle/>
                    <a:p>
                      <a:pPr marL="91440">
                        <a:lnSpc>
                          <a:spcPct val="100000"/>
                        </a:lnSpc>
                        <a:spcBef>
                          <a:spcPts val="800"/>
                        </a:spcBef>
                      </a:pPr>
                      <a:endParaRPr lang="en-GB" sz="1600" dirty="0">
                        <a:latin typeface="Arial"/>
                        <a:cs typeface="Arial"/>
                      </a:endParaRPr>
                    </a:p>
                  </a:txBody>
                  <a:tcPr marL="0" marR="0" marT="101600" marB="0"/>
                </a:tc>
                <a:extLst>
                  <a:ext uri="{0D108BD9-81ED-4DB2-BD59-A6C34878D82A}">
                    <a16:rowId xmlns:a16="http://schemas.microsoft.com/office/drawing/2014/main" xmlns="" val="10003"/>
                  </a:ext>
                </a:extLst>
              </a:tr>
              <a:tr h="1309680">
                <a:tc>
                  <a:txBody>
                    <a:bodyPr/>
                    <a:lstStyle/>
                    <a:p>
                      <a:pPr marL="377190" indent="-285750">
                        <a:lnSpc>
                          <a:spcPct val="100000"/>
                        </a:lnSpc>
                        <a:spcBef>
                          <a:spcPts val="300"/>
                        </a:spcBef>
                        <a:buFont typeface="Arial" panose="020B0604020202020204" pitchFamily="34" charset="0"/>
                        <a:buChar char="•"/>
                      </a:pPr>
                      <a:r>
                        <a:rPr lang="en-GB" sz="1800">
                          <a:solidFill>
                            <a:srgbClr val="245473"/>
                          </a:solidFill>
                          <a:latin typeface="+mj-lt"/>
                          <a:cs typeface="Arial"/>
                        </a:rPr>
                        <a:t>Number and strength of competitors</a:t>
                      </a:r>
                    </a:p>
                    <a:p>
                      <a:pPr marL="377190" indent="-285750">
                        <a:lnSpc>
                          <a:spcPct val="100000"/>
                        </a:lnSpc>
                        <a:spcBef>
                          <a:spcPts val="300"/>
                        </a:spcBef>
                        <a:buFont typeface="Arial" panose="020B0604020202020204" pitchFamily="34" charset="0"/>
                        <a:buChar char="•"/>
                      </a:pPr>
                      <a:r>
                        <a:rPr lang="en-GB" sz="1800">
                          <a:solidFill>
                            <a:srgbClr val="245473"/>
                          </a:solidFill>
                          <a:latin typeface="+mj-lt"/>
                          <a:cs typeface="Arial"/>
                        </a:rPr>
                        <a:t>current and potential customers</a:t>
                      </a:r>
                    </a:p>
                    <a:p>
                      <a:pPr marL="377190" indent="-285750">
                        <a:lnSpc>
                          <a:spcPct val="100000"/>
                        </a:lnSpc>
                        <a:spcBef>
                          <a:spcPts val="300"/>
                        </a:spcBef>
                        <a:buFont typeface="Arial" panose="020B0604020202020204" pitchFamily="34" charset="0"/>
                        <a:buChar char="•"/>
                      </a:pPr>
                      <a:r>
                        <a:rPr lang="en-GB" sz="1800">
                          <a:solidFill>
                            <a:srgbClr val="245473"/>
                          </a:solidFill>
                          <a:latin typeface="+mj-lt"/>
                          <a:cs typeface="Arial"/>
                        </a:rPr>
                        <a:t>current and potential suppliers</a:t>
                      </a:r>
                    </a:p>
                    <a:p>
                      <a:pPr marL="377190" indent="-285750">
                        <a:lnSpc>
                          <a:spcPct val="100000"/>
                        </a:lnSpc>
                        <a:spcBef>
                          <a:spcPts val="300"/>
                        </a:spcBef>
                        <a:buFont typeface="Arial" panose="020B0604020202020204" pitchFamily="34" charset="0"/>
                        <a:buChar char="•"/>
                      </a:pPr>
                      <a:r>
                        <a:rPr lang="en-GB" sz="1800">
                          <a:solidFill>
                            <a:srgbClr val="245473"/>
                          </a:solidFill>
                          <a:latin typeface="+mj-lt"/>
                          <a:cs typeface="Arial"/>
                        </a:rPr>
                        <a:t>Substitution products and new</a:t>
                      </a:r>
                    </a:p>
                    <a:p>
                      <a:pPr marL="377190" indent="-285750">
                        <a:lnSpc>
                          <a:spcPct val="100000"/>
                        </a:lnSpc>
                        <a:spcBef>
                          <a:spcPts val="300"/>
                        </a:spcBef>
                        <a:buFont typeface="Arial" panose="020B0604020202020204" pitchFamily="34" charset="0"/>
                        <a:buChar char="•"/>
                      </a:pPr>
                      <a:r>
                        <a:rPr lang="en-GB" sz="1800">
                          <a:solidFill>
                            <a:srgbClr val="245473"/>
                          </a:solidFill>
                          <a:latin typeface="+mj-lt"/>
                          <a:cs typeface="Arial"/>
                        </a:rPr>
                        <a:t>Technologies</a:t>
                      </a:r>
                      <a:endParaRPr lang="en-GB" sz="1800" dirty="0">
                        <a:solidFill>
                          <a:srgbClr val="245473"/>
                        </a:solidFill>
                        <a:latin typeface="+mj-lt"/>
                        <a:cs typeface="Arial"/>
                      </a:endParaRPr>
                    </a:p>
                  </a:txBody>
                  <a:tcPr marL="0" marR="0" marT="101600" marB="0" anchor="ctr"/>
                </a:tc>
                <a:tc>
                  <a:txBody>
                    <a:bodyPr/>
                    <a:lstStyle/>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new business models</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new competitors</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Changes in </a:t>
                      </a:r>
                      <a:r>
                        <a:rPr lang="en-GB" sz="1800" dirty="0" err="1">
                          <a:solidFill>
                            <a:srgbClr val="245473"/>
                          </a:solidFill>
                          <a:latin typeface="+mj-lt"/>
                          <a:cs typeface="Arial"/>
                        </a:rPr>
                        <a:t>neighboring</a:t>
                      </a:r>
                      <a:r>
                        <a:rPr lang="en-GB" sz="1800" dirty="0">
                          <a:solidFill>
                            <a:srgbClr val="245473"/>
                          </a:solidFill>
                          <a:latin typeface="+mj-lt"/>
                          <a:cs typeface="Arial"/>
                        </a:rPr>
                        <a:t> sectors</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Changes in the </a:t>
                      </a:r>
                      <a:r>
                        <a:rPr lang="en-GB" sz="1800" dirty="0" err="1">
                          <a:solidFill>
                            <a:srgbClr val="245473"/>
                          </a:solidFill>
                          <a:latin typeface="+mj-lt"/>
                          <a:cs typeface="Arial"/>
                        </a:rPr>
                        <a:t>behavior</a:t>
                      </a:r>
                      <a:r>
                        <a:rPr lang="en-GB" sz="1800" dirty="0">
                          <a:solidFill>
                            <a:srgbClr val="245473"/>
                          </a:solidFill>
                          <a:latin typeface="+mj-lt"/>
                          <a:cs typeface="Arial"/>
                        </a:rPr>
                        <a:t> of capital-</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markets compared to the industry</a:t>
                      </a:r>
                    </a:p>
                  </a:txBody>
                  <a:tcPr marL="0" marR="0" marT="101600" marB="0"/>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5230230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27072" y="502054"/>
            <a:ext cx="9192275" cy="881568"/>
          </a:xfrm>
        </p:spPr>
        <p:txBody>
          <a:bodyPr>
            <a:normAutofit fontScale="85000" lnSpcReduction="10000"/>
          </a:bodyPr>
          <a:lstStyle/>
          <a:p>
            <a:r>
              <a:rPr lang="en-GB" dirty="0"/>
              <a:t>Content of Restructuring Concepts: Importance of a new Mission Statement – See Additional Resources als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17505" y="1843478"/>
            <a:ext cx="2855839" cy="49452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A comprehensive restructuring concept also includes the future mission statement of the restructured company.</a:t>
            </a:r>
            <a:endParaRPr lang="en-US" sz="1800" dirty="0">
              <a:solidFill>
                <a:srgbClr val="245473"/>
              </a:solidFill>
            </a:endParaRP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There, procedures and potentials are shown which make the company competitive and thus open up the possibility of achieving a sustainable return on sales and equity ratio customary in the industry, in order to become attractive again for equity and debt capital providers</a:t>
            </a: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7" name="Arc 24">
            <a:extLst>
              <a:ext uri="{FF2B5EF4-FFF2-40B4-BE49-F238E27FC236}">
                <a16:creationId xmlns:a16="http://schemas.microsoft.com/office/drawing/2014/main" xmlns="" id="{50CA720C-4BA6-44FB-BEA6-F8DB2D677F55}"/>
              </a:ext>
            </a:extLst>
          </p:cNvPr>
          <p:cNvSpPr/>
          <p:nvPr/>
        </p:nvSpPr>
        <p:spPr>
          <a:xfrm rot="10800000">
            <a:off x="5614569" y="1951437"/>
            <a:ext cx="3429893" cy="3661770"/>
          </a:xfrm>
          <a:prstGeom prst="arc">
            <a:avLst>
              <a:gd name="adj1" fmla="val 13616883"/>
              <a:gd name="adj2" fmla="val 18757689"/>
            </a:avLst>
          </a:prstGeom>
          <a:ln w="444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dirty="0">
              <a:latin typeface="+mj-lt"/>
            </a:endParaRPr>
          </a:p>
        </p:txBody>
      </p:sp>
      <p:sp>
        <p:nvSpPr>
          <p:cNvPr id="8" name="Arc 23">
            <a:extLst>
              <a:ext uri="{FF2B5EF4-FFF2-40B4-BE49-F238E27FC236}">
                <a16:creationId xmlns:a16="http://schemas.microsoft.com/office/drawing/2014/main" xmlns="" id="{DAE4797C-1501-4323-8DF0-26A4E54F369B}"/>
              </a:ext>
            </a:extLst>
          </p:cNvPr>
          <p:cNvSpPr/>
          <p:nvPr/>
        </p:nvSpPr>
        <p:spPr>
          <a:xfrm>
            <a:off x="5611603" y="2119695"/>
            <a:ext cx="3429893" cy="3661770"/>
          </a:xfrm>
          <a:prstGeom prst="arc">
            <a:avLst>
              <a:gd name="adj1" fmla="val 13616883"/>
              <a:gd name="adj2" fmla="val 18757689"/>
            </a:avLst>
          </a:prstGeom>
          <a:ln w="4445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dirty="0">
              <a:latin typeface="+mj-lt"/>
            </a:endParaRPr>
          </a:p>
        </p:txBody>
      </p:sp>
      <p:sp>
        <p:nvSpPr>
          <p:cNvPr id="10" name="Freeform 1">
            <a:extLst>
              <a:ext uri="{FF2B5EF4-FFF2-40B4-BE49-F238E27FC236}">
                <a16:creationId xmlns:a16="http://schemas.microsoft.com/office/drawing/2014/main" xmlns="" id="{7B5E45DC-8EFB-4828-93D8-06E42AB0C3E9}"/>
              </a:ext>
            </a:extLst>
          </p:cNvPr>
          <p:cNvSpPr>
            <a:spLocks noChangeArrowheads="1"/>
          </p:cNvSpPr>
          <p:nvPr/>
        </p:nvSpPr>
        <p:spPr bwMode="auto">
          <a:xfrm>
            <a:off x="6119865" y="2653116"/>
            <a:ext cx="2403226" cy="2403226"/>
          </a:xfrm>
          <a:custGeom>
            <a:avLst/>
            <a:gdLst>
              <a:gd name="connsiteX0" fmla="*/ 4140761 w 8280215"/>
              <a:gd name="connsiteY0" fmla="*/ 3562934 h 8280217"/>
              <a:gd name="connsiteX1" fmla="*/ 4737444 w 8280215"/>
              <a:gd name="connsiteY1" fmla="*/ 4160270 h 8280217"/>
              <a:gd name="connsiteX2" fmla="*/ 4140761 w 8280215"/>
              <a:gd name="connsiteY2" fmla="*/ 4757606 h 8280217"/>
              <a:gd name="connsiteX3" fmla="*/ 3542772 w 8280215"/>
              <a:gd name="connsiteY3" fmla="*/ 4160270 h 8280217"/>
              <a:gd name="connsiteX4" fmla="*/ 4140761 w 8280215"/>
              <a:gd name="connsiteY4" fmla="*/ 3562934 h 8280217"/>
              <a:gd name="connsiteX5" fmla="*/ 4140761 w 8280215"/>
              <a:gd name="connsiteY5" fmla="*/ 2949871 h 8280217"/>
              <a:gd name="connsiteX6" fmla="*/ 2952207 w 8280215"/>
              <a:gd name="connsiteY6" fmla="*/ 4137555 h 8280217"/>
              <a:gd name="connsiteX7" fmla="*/ 4140761 w 8280215"/>
              <a:gd name="connsiteY7" fmla="*/ 5325238 h 8280217"/>
              <a:gd name="connsiteX8" fmla="*/ 5328009 w 8280215"/>
              <a:gd name="connsiteY8" fmla="*/ 4137555 h 8280217"/>
              <a:gd name="connsiteX9" fmla="*/ 4140761 w 8280215"/>
              <a:gd name="connsiteY9" fmla="*/ 2949871 h 8280217"/>
              <a:gd name="connsiteX10" fmla="*/ 4140761 w 8280215"/>
              <a:gd name="connsiteY10" fmla="*/ 2358968 h 8280217"/>
              <a:gd name="connsiteX11" fmla="*/ 5918368 w 8280215"/>
              <a:gd name="connsiteY11" fmla="*/ 4137555 h 8280217"/>
              <a:gd name="connsiteX12" fmla="*/ 4140761 w 8280215"/>
              <a:gd name="connsiteY12" fmla="*/ 5915488 h 8280217"/>
              <a:gd name="connsiteX13" fmla="*/ 2361848 w 8280215"/>
              <a:gd name="connsiteY13" fmla="*/ 4137555 h 8280217"/>
              <a:gd name="connsiteX14" fmla="*/ 4140761 w 8280215"/>
              <a:gd name="connsiteY14" fmla="*/ 2358968 h 8280217"/>
              <a:gd name="connsiteX15" fmla="*/ 4140434 w 8280215"/>
              <a:gd name="connsiteY15" fmla="*/ 1770736 h 8280217"/>
              <a:gd name="connsiteX16" fmla="*/ 1771259 w 8280215"/>
              <a:gd name="connsiteY16" fmla="*/ 4140435 h 8280217"/>
              <a:gd name="connsiteX17" fmla="*/ 4140434 w 8280215"/>
              <a:gd name="connsiteY17" fmla="*/ 6509481 h 8280217"/>
              <a:gd name="connsiteX18" fmla="*/ 6508304 w 8280215"/>
              <a:gd name="connsiteY18" fmla="*/ 4140435 h 8280217"/>
              <a:gd name="connsiteX19" fmla="*/ 4140434 w 8280215"/>
              <a:gd name="connsiteY19" fmla="*/ 1770736 h 8280217"/>
              <a:gd name="connsiteX20" fmla="*/ 4140434 w 8280215"/>
              <a:gd name="connsiteY20" fmla="*/ 1180924 h 8280217"/>
              <a:gd name="connsiteX21" fmla="*/ 7099292 w 8280215"/>
              <a:gd name="connsiteY21" fmla="*/ 4140435 h 8280217"/>
              <a:gd name="connsiteX22" fmla="*/ 4140434 w 8280215"/>
              <a:gd name="connsiteY22" fmla="*/ 7099293 h 8280217"/>
              <a:gd name="connsiteX23" fmla="*/ 1180924 w 8280215"/>
              <a:gd name="connsiteY23" fmla="*/ 4140435 h 8280217"/>
              <a:gd name="connsiteX24" fmla="*/ 4140434 w 8280215"/>
              <a:gd name="connsiteY24" fmla="*/ 1180924 h 8280217"/>
              <a:gd name="connsiteX25" fmla="*/ 4140760 w 8280215"/>
              <a:gd name="connsiteY25" fmla="*/ 590418 h 8280217"/>
              <a:gd name="connsiteX26" fmla="*/ 589764 w 8280215"/>
              <a:gd name="connsiteY26" fmla="*/ 4140109 h 8280217"/>
              <a:gd name="connsiteX27" fmla="*/ 4140760 w 8280215"/>
              <a:gd name="connsiteY27" fmla="*/ 7689799 h 8280217"/>
              <a:gd name="connsiteX28" fmla="*/ 7689798 w 8280215"/>
              <a:gd name="connsiteY28" fmla="*/ 4140109 h 8280217"/>
              <a:gd name="connsiteX29" fmla="*/ 4140760 w 8280215"/>
              <a:gd name="connsiteY29" fmla="*/ 590418 h 8280217"/>
              <a:gd name="connsiteX30" fmla="*/ 4140760 w 8280215"/>
              <a:gd name="connsiteY30" fmla="*/ 0 h 8280217"/>
              <a:gd name="connsiteX31" fmla="*/ 8280215 w 8280215"/>
              <a:gd name="connsiteY31" fmla="*/ 4140109 h 8280217"/>
              <a:gd name="connsiteX32" fmla="*/ 4140760 w 8280215"/>
              <a:gd name="connsiteY32" fmla="*/ 8280217 h 8280217"/>
              <a:gd name="connsiteX33" fmla="*/ 0 w 8280215"/>
              <a:gd name="connsiteY33" fmla="*/ 4140109 h 8280217"/>
              <a:gd name="connsiteX34" fmla="*/ 4140760 w 8280215"/>
              <a:gd name="connsiteY34" fmla="*/ 0 h 828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80215" h="8280217">
                <a:moveTo>
                  <a:pt x="4140761" y="3562934"/>
                </a:moveTo>
                <a:cubicBezTo>
                  <a:pt x="4469785" y="3562934"/>
                  <a:pt x="4737444" y="3830593"/>
                  <a:pt x="4737444" y="4160270"/>
                </a:cubicBezTo>
                <a:cubicBezTo>
                  <a:pt x="4737444" y="4489948"/>
                  <a:pt x="4469785" y="4757606"/>
                  <a:pt x="4140761" y="4757606"/>
                </a:cubicBezTo>
                <a:cubicBezTo>
                  <a:pt x="3810431" y="4757606"/>
                  <a:pt x="3542772" y="4489948"/>
                  <a:pt x="3542772" y="4160270"/>
                </a:cubicBezTo>
                <a:cubicBezTo>
                  <a:pt x="3542772" y="3830593"/>
                  <a:pt x="3810431" y="3562934"/>
                  <a:pt x="4140761" y="3562934"/>
                </a:cubicBezTo>
                <a:close/>
                <a:moveTo>
                  <a:pt x="4140761" y="2949871"/>
                </a:moveTo>
                <a:cubicBezTo>
                  <a:pt x="3485097" y="2949871"/>
                  <a:pt x="2952207" y="3482011"/>
                  <a:pt x="2952207" y="4137555"/>
                </a:cubicBezTo>
                <a:cubicBezTo>
                  <a:pt x="2952207" y="4791792"/>
                  <a:pt x="3485097" y="5325238"/>
                  <a:pt x="4140761" y="5325238"/>
                </a:cubicBezTo>
                <a:cubicBezTo>
                  <a:pt x="4795119" y="5325238"/>
                  <a:pt x="5328009" y="4791792"/>
                  <a:pt x="5328009" y="4137555"/>
                </a:cubicBezTo>
                <a:cubicBezTo>
                  <a:pt x="5328009" y="3482011"/>
                  <a:pt x="4795119" y="2949871"/>
                  <a:pt x="4140761" y="2949871"/>
                </a:cubicBezTo>
                <a:close/>
                <a:moveTo>
                  <a:pt x="4140761" y="2358968"/>
                </a:moveTo>
                <a:cubicBezTo>
                  <a:pt x="5120339" y="2358968"/>
                  <a:pt x="5918368" y="3156851"/>
                  <a:pt x="5918368" y="4137555"/>
                </a:cubicBezTo>
                <a:cubicBezTo>
                  <a:pt x="5918368" y="5117605"/>
                  <a:pt x="5120339" y="5915488"/>
                  <a:pt x="4140761" y="5915488"/>
                </a:cubicBezTo>
                <a:cubicBezTo>
                  <a:pt x="3159877" y="5915488"/>
                  <a:pt x="2361848" y="5117605"/>
                  <a:pt x="2361848" y="4137555"/>
                </a:cubicBezTo>
                <a:cubicBezTo>
                  <a:pt x="2361848" y="3156851"/>
                  <a:pt x="3159877" y="2358968"/>
                  <a:pt x="4140761" y="2358968"/>
                </a:cubicBezTo>
                <a:close/>
                <a:moveTo>
                  <a:pt x="4140434" y="1770736"/>
                </a:moveTo>
                <a:cubicBezTo>
                  <a:pt x="2833731" y="1770736"/>
                  <a:pt x="1771259" y="2834096"/>
                  <a:pt x="1771259" y="4140435"/>
                </a:cubicBezTo>
                <a:cubicBezTo>
                  <a:pt x="1771259" y="5446774"/>
                  <a:pt x="2833731" y="6509481"/>
                  <a:pt x="4140434" y="6509481"/>
                </a:cubicBezTo>
                <a:cubicBezTo>
                  <a:pt x="5445832" y="6509481"/>
                  <a:pt x="6508304" y="5446774"/>
                  <a:pt x="6508304" y="4140435"/>
                </a:cubicBezTo>
                <a:cubicBezTo>
                  <a:pt x="6508304" y="2834096"/>
                  <a:pt x="5445832" y="1770736"/>
                  <a:pt x="4140434" y="1770736"/>
                </a:cubicBezTo>
                <a:close/>
                <a:moveTo>
                  <a:pt x="4140434" y="1180924"/>
                </a:moveTo>
                <a:cubicBezTo>
                  <a:pt x="5771692" y="1180924"/>
                  <a:pt x="7099292" y="2508164"/>
                  <a:pt x="7099292" y="4140435"/>
                </a:cubicBezTo>
                <a:cubicBezTo>
                  <a:pt x="7099292" y="5772053"/>
                  <a:pt x="5771692" y="7099293"/>
                  <a:pt x="4140434" y="7099293"/>
                </a:cubicBezTo>
                <a:cubicBezTo>
                  <a:pt x="2508524" y="7099293"/>
                  <a:pt x="1180924" y="5772053"/>
                  <a:pt x="1180924" y="4140435"/>
                </a:cubicBezTo>
                <a:cubicBezTo>
                  <a:pt x="1180924" y="2508164"/>
                  <a:pt x="2508524" y="1180924"/>
                  <a:pt x="4140434" y="1180924"/>
                </a:cubicBezTo>
                <a:close/>
                <a:moveTo>
                  <a:pt x="4140760" y="590418"/>
                </a:moveTo>
                <a:cubicBezTo>
                  <a:pt x="2183370" y="590418"/>
                  <a:pt x="589764" y="2182717"/>
                  <a:pt x="589764" y="4140109"/>
                </a:cubicBezTo>
                <a:cubicBezTo>
                  <a:pt x="589764" y="6096847"/>
                  <a:pt x="2183370" y="7689799"/>
                  <a:pt x="4140760" y="7689799"/>
                </a:cubicBezTo>
                <a:cubicBezTo>
                  <a:pt x="6097498" y="7689799"/>
                  <a:pt x="7689798" y="6096847"/>
                  <a:pt x="7689798" y="4140109"/>
                </a:cubicBezTo>
                <a:cubicBezTo>
                  <a:pt x="7689798" y="2182717"/>
                  <a:pt x="6097498" y="590418"/>
                  <a:pt x="4140760" y="590418"/>
                </a:cubicBezTo>
                <a:close/>
                <a:moveTo>
                  <a:pt x="4140760" y="0"/>
                </a:moveTo>
                <a:cubicBezTo>
                  <a:pt x="6423404" y="0"/>
                  <a:pt x="8280215" y="1856811"/>
                  <a:pt x="8280215" y="4140109"/>
                </a:cubicBezTo>
                <a:cubicBezTo>
                  <a:pt x="8280215" y="6422752"/>
                  <a:pt x="6423404" y="8280217"/>
                  <a:pt x="4140760" y="8280217"/>
                </a:cubicBezTo>
                <a:cubicBezTo>
                  <a:pt x="1857464" y="8280217"/>
                  <a:pt x="0" y="6422752"/>
                  <a:pt x="0" y="4140109"/>
                </a:cubicBezTo>
                <a:cubicBezTo>
                  <a:pt x="0" y="1856811"/>
                  <a:pt x="1857464" y="0"/>
                  <a:pt x="4140760" y="0"/>
                </a:cubicBezTo>
                <a:close/>
              </a:path>
            </a:pathLst>
          </a:custGeom>
          <a:solidFill>
            <a:schemeClr val="accent5"/>
          </a:solidFill>
          <a:ln>
            <a:noFill/>
          </a:ln>
          <a:effectLst/>
        </p:spPr>
        <p:txBody>
          <a:bodyPr wrap="square" anchor="ctr">
            <a:noAutofit/>
          </a:bodyPr>
          <a:lstStyle/>
          <a:p>
            <a:endParaRPr lang="en-GB" sz="5400" dirty="0">
              <a:latin typeface="+mj-lt"/>
            </a:endParaRPr>
          </a:p>
        </p:txBody>
      </p:sp>
      <p:sp>
        <p:nvSpPr>
          <p:cNvPr id="11" name="Freeform 1">
            <a:extLst>
              <a:ext uri="{FF2B5EF4-FFF2-40B4-BE49-F238E27FC236}">
                <a16:creationId xmlns:a16="http://schemas.microsoft.com/office/drawing/2014/main" xmlns="" id="{313744A0-4F91-4640-BE1C-B7C25355ED29}"/>
              </a:ext>
            </a:extLst>
          </p:cNvPr>
          <p:cNvSpPr>
            <a:spLocks noChangeArrowheads="1"/>
          </p:cNvSpPr>
          <p:nvPr/>
        </p:nvSpPr>
        <p:spPr bwMode="auto">
          <a:xfrm>
            <a:off x="5543045" y="2663984"/>
            <a:ext cx="562608" cy="1087598"/>
          </a:xfrm>
          <a:custGeom>
            <a:avLst/>
            <a:gdLst>
              <a:gd name="T0" fmla="*/ 347 w 2969"/>
              <a:gd name="T1" fmla="*/ 5566 h 5736"/>
              <a:gd name="T2" fmla="*/ 347 w 2969"/>
              <a:gd name="T3" fmla="*/ 5566 h 5736"/>
              <a:gd name="T4" fmla="*/ 793 w 2969"/>
              <a:gd name="T5" fmla="*/ 5735 h 5736"/>
              <a:gd name="T6" fmla="*/ 793 w 2969"/>
              <a:gd name="T7" fmla="*/ 5735 h 5736"/>
              <a:gd name="T8" fmla="*/ 2968 w 2969"/>
              <a:gd name="T9" fmla="*/ 556 h 5736"/>
              <a:gd name="T10" fmla="*/ 2968 w 2969"/>
              <a:gd name="T11" fmla="*/ 556 h 5736"/>
              <a:gd name="T12" fmla="*/ 2390 w 2969"/>
              <a:gd name="T13" fmla="*/ 0 h 5736"/>
              <a:gd name="T14" fmla="*/ 2390 w 2969"/>
              <a:gd name="T15" fmla="*/ 0 h 5736"/>
              <a:gd name="T16" fmla="*/ 0 w 2969"/>
              <a:gd name="T17" fmla="*/ 5665 h 5736"/>
              <a:gd name="T18" fmla="*/ 0 w 2969"/>
              <a:gd name="T19" fmla="*/ 5665 h 5736"/>
              <a:gd name="T20" fmla="*/ 347 w 2969"/>
              <a:gd name="T21" fmla="*/ 5566 h 5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69" h="5736">
                <a:moveTo>
                  <a:pt x="347" y="5566"/>
                </a:moveTo>
                <a:lnTo>
                  <a:pt x="347" y="5566"/>
                </a:lnTo>
                <a:cubicBezTo>
                  <a:pt x="517" y="5566"/>
                  <a:pt x="672" y="5631"/>
                  <a:pt x="793" y="5735"/>
                </a:cubicBezTo>
                <a:lnTo>
                  <a:pt x="793" y="5735"/>
                </a:lnTo>
                <a:cubicBezTo>
                  <a:pt x="923" y="3754"/>
                  <a:pt x="1723" y="1953"/>
                  <a:pt x="2968" y="556"/>
                </a:cubicBezTo>
                <a:lnTo>
                  <a:pt x="2968" y="556"/>
                </a:lnTo>
                <a:cubicBezTo>
                  <a:pt x="2678" y="514"/>
                  <a:pt x="2442" y="287"/>
                  <a:pt x="2390" y="0"/>
                </a:cubicBezTo>
                <a:lnTo>
                  <a:pt x="2390" y="0"/>
                </a:lnTo>
                <a:cubicBezTo>
                  <a:pt x="974" y="1577"/>
                  <a:pt x="141" y="3553"/>
                  <a:pt x="0" y="5665"/>
                </a:cubicBezTo>
                <a:lnTo>
                  <a:pt x="0" y="5665"/>
                </a:lnTo>
                <a:cubicBezTo>
                  <a:pt x="102" y="5602"/>
                  <a:pt x="221" y="5566"/>
                  <a:pt x="347" y="5566"/>
                </a:cubicBezTo>
              </a:path>
            </a:pathLst>
          </a:custGeom>
          <a:solidFill>
            <a:schemeClr val="accent1"/>
          </a:solidFill>
          <a:ln>
            <a:noFill/>
          </a:ln>
          <a:effectLst/>
        </p:spPr>
        <p:txBody>
          <a:bodyPr wrap="none" anchor="ctr"/>
          <a:lstStyle/>
          <a:p>
            <a:endParaRPr lang="en-GB" sz="5400" dirty="0">
              <a:latin typeface="+mj-lt"/>
            </a:endParaRPr>
          </a:p>
        </p:txBody>
      </p:sp>
      <p:sp>
        <p:nvSpPr>
          <p:cNvPr id="12" name="Freeform 4">
            <a:extLst>
              <a:ext uri="{FF2B5EF4-FFF2-40B4-BE49-F238E27FC236}">
                <a16:creationId xmlns:a16="http://schemas.microsoft.com/office/drawing/2014/main" xmlns="" id="{5D96A987-C64F-456A-80C6-A16400CFF6F5}"/>
              </a:ext>
            </a:extLst>
          </p:cNvPr>
          <p:cNvSpPr>
            <a:spLocks noChangeArrowheads="1"/>
          </p:cNvSpPr>
          <p:nvPr/>
        </p:nvSpPr>
        <p:spPr bwMode="auto">
          <a:xfrm>
            <a:off x="8561736" y="2670672"/>
            <a:ext cx="556756" cy="1086762"/>
          </a:xfrm>
          <a:custGeom>
            <a:avLst/>
            <a:gdLst>
              <a:gd name="T0" fmla="*/ 2582 w 2939"/>
              <a:gd name="T1" fmla="*/ 5567 h 5731"/>
              <a:gd name="T2" fmla="*/ 2582 w 2939"/>
              <a:gd name="T3" fmla="*/ 5567 h 5731"/>
              <a:gd name="T4" fmla="*/ 2938 w 2939"/>
              <a:gd name="T5" fmla="*/ 5671 h 5731"/>
              <a:gd name="T6" fmla="*/ 2938 w 2939"/>
              <a:gd name="T7" fmla="*/ 5671 h 5731"/>
              <a:gd name="T8" fmla="*/ 576 w 2939"/>
              <a:gd name="T9" fmla="*/ 0 h 5731"/>
              <a:gd name="T10" fmla="*/ 576 w 2939"/>
              <a:gd name="T11" fmla="*/ 0 h 5731"/>
              <a:gd name="T12" fmla="*/ 0 w 2939"/>
              <a:gd name="T13" fmla="*/ 557 h 5731"/>
              <a:gd name="T14" fmla="*/ 0 w 2939"/>
              <a:gd name="T15" fmla="*/ 557 h 5731"/>
              <a:gd name="T16" fmla="*/ 2145 w 2939"/>
              <a:gd name="T17" fmla="*/ 5730 h 5731"/>
              <a:gd name="T18" fmla="*/ 2145 w 2939"/>
              <a:gd name="T19" fmla="*/ 5730 h 5731"/>
              <a:gd name="T20" fmla="*/ 2582 w 2939"/>
              <a:gd name="T21" fmla="*/ 5567 h 5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39" h="5731">
                <a:moveTo>
                  <a:pt x="2582" y="5567"/>
                </a:moveTo>
                <a:lnTo>
                  <a:pt x="2582" y="5567"/>
                </a:lnTo>
                <a:cubicBezTo>
                  <a:pt x="2712" y="5567"/>
                  <a:pt x="2834" y="5606"/>
                  <a:pt x="2938" y="5671"/>
                </a:cubicBezTo>
                <a:lnTo>
                  <a:pt x="2938" y="5671"/>
                </a:lnTo>
                <a:cubicBezTo>
                  <a:pt x="2807" y="3560"/>
                  <a:pt x="1983" y="1581"/>
                  <a:pt x="576" y="0"/>
                </a:cubicBezTo>
                <a:lnTo>
                  <a:pt x="576" y="0"/>
                </a:lnTo>
                <a:cubicBezTo>
                  <a:pt x="524" y="287"/>
                  <a:pt x="289" y="514"/>
                  <a:pt x="0" y="557"/>
                </a:cubicBezTo>
                <a:lnTo>
                  <a:pt x="0" y="557"/>
                </a:lnTo>
                <a:cubicBezTo>
                  <a:pt x="1233" y="1956"/>
                  <a:pt x="2022" y="3753"/>
                  <a:pt x="2145" y="5730"/>
                </a:cubicBezTo>
                <a:lnTo>
                  <a:pt x="2145" y="5730"/>
                </a:lnTo>
                <a:cubicBezTo>
                  <a:pt x="2264" y="5629"/>
                  <a:pt x="2417" y="5567"/>
                  <a:pt x="2582" y="5567"/>
                </a:cubicBezTo>
              </a:path>
            </a:pathLst>
          </a:custGeom>
          <a:solidFill>
            <a:schemeClr val="accent3"/>
          </a:solidFill>
          <a:ln>
            <a:noFill/>
          </a:ln>
          <a:effectLst/>
        </p:spPr>
        <p:txBody>
          <a:bodyPr wrap="none" anchor="ctr"/>
          <a:lstStyle/>
          <a:p>
            <a:endParaRPr lang="en-GB" sz="5400" dirty="0">
              <a:latin typeface="+mj-lt"/>
            </a:endParaRPr>
          </a:p>
        </p:txBody>
      </p:sp>
      <p:sp>
        <p:nvSpPr>
          <p:cNvPr id="13" name="Freeform 5">
            <a:extLst>
              <a:ext uri="{FF2B5EF4-FFF2-40B4-BE49-F238E27FC236}">
                <a16:creationId xmlns:a16="http://schemas.microsoft.com/office/drawing/2014/main" xmlns="" id="{85D466B1-E1DD-4B3D-9957-ED8AFFDD5602}"/>
              </a:ext>
            </a:extLst>
          </p:cNvPr>
          <p:cNvSpPr>
            <a:spLocks noChangeArrowheads="1"/>
          </p:cNvSpPr>
          <p:nvPr/>
        </p:nvSpPr>
        <p:spPr bwMode="auto">
          <a:xfrm>
            <a:off x="8558393" y="3953886"/>
            <a:ext cx="560937" cy="1090106"/>
          </a:xfrm>
          <a:custGeom>
            <a:avLst/>
            <a:gdLst>
              <a:gd name="T0" fmla="*/ 0 w 2959"/>
              <a:gd name="T1" fmla="*/ 5238 h 5750"/>
              <a:gd name="T2" fmla="*/ 0 w 2959"/>
              <a:gd name="T3" fmla="*/ 5238 h 5750"/>
              <a:gd name="T4" fmla="*/ 617 w 2959"/>
              <a:gd name="T5" fmla="*/ 5749 h 5750"/>
              <a:gd name="T6" fmla="*/ 617 w 2959"/>
              <a:gd name="T7" fmla="*/ 5749 h 5750"/>
              <a:gd name="T8" fmla="*/ 2958 w 2959"/>
              <a:gd name="T9" fmla="*/ 54 h 5750"/>
              <a:gd name="T10" fmla="*/ 2958 w 2959"/>
              <a:gd name="T11" fmla="*/ 54 h 5750"/>
              <a:gd name="T12" fmla="*/ 2598 w 2959"/>
              <a:gd name="T13" fmla="*/ 160 h 5750"/>
              <a:gd name="T14" fmla="*/ 2598 w 2959"/>
              <a:gd name="T15" fmla="*/ 160 h 5750"/>
              <a:gd name="T16" fmla="*/ 2164 w 2959"/>
              <a:gd name="T17" fmla="*/ 0 h 5750"/>
              <a:gd name="T18" fmla="*/ 2164 w 2959"/>
              <a:gd name="T19" fmla="*/ 0 h 5750"/>
              <a:gd name="T20" fmla="*/ 0 w 2959"/>
              <a:gd name="T21" fmla="*/ 5238 h 5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59" h="5750">
                <a:moveTo>
                  <a:pt x="0" y="5238"/>
                </a:moveTo>
                <a:lnTo>
                  <a:pt x="0" y="5238"/>
                </a:lnTo>
                <a:cubicBezTo>
                  <a:pt x="295" y="5256"/>
                  <a:pt x="543" y="5470"/>
                  <a:pt x="617" y="5749"/>
                </a:cubicBezTo>
                <a:lnTo>
                  <a:pt x="617" y="5749"/>
                </a:lnTo>
                <a:cubicBezTo>
                  <a:pt x="2020" y="4159"/>
                  <a:pt x="2836" y="2173"/>
                  <a:pt x="2958" y="54"/>
                </a:cubicBezTo>
                <a:lnTo>
                  <a:pt x="2958" y="54"/>
                </a:lnTo>
                <a:cubicBezTo>
                  <a:pt x="2853" y="121"/>
                  <a:pt x="2729" y="160"/>
                  <a:pt x="2598" y="160"/>
                </a:cubicBezTo>
                <a:lnTo>
                  <a:pt x="2598" y="160"/>
                </a:lnTo>
                <a:cubicBezTo>
                  <a:pt x="2434" y="160"/>
                  <a:pt x="2282" y="99"/>
                  <a:pt x="2164" y="0"/>
                </a:cubicBezTo>
                <a:lnTo>
                  <a:pt x="2164" y="0"/>
                </a:lnTo>
                <a:cubicBezTo>
                  <a:pt x="2049" y="2003"/>
                  <a:pt x="1251" y="3825"/>
                  <a:pt x="0" y="5238"/>
                </a:cubicBezTo>
              </a:path>
            </a:pathLst>
          </a:custGeom>
          <a:solidFill>
            <a:schemeClr val="accent2"/>
          </a:solidFill>
          <a:ln>
            <a:noFill/>
          </a:ln>
          <a:effectLst/>
        </p:spPr>
        <p:txBody>
          <a:bodyPr wrap="none" anchor="ctr"/>
          <a:lstStyle/>
          <a:p>
            <a:endParaRPr lang="en-GB" sz="5400" dirty="0">
              <a:latin typeface="+mj-lt"/>
            </a:endParaRPr>
          </a:p>
        </p:txBody>
      </p:sp>
      <p:sp>
        <p:nvSpPr>
          <p:cNvPr id="14" name="Freeform 9">
            <a:extLst>
              <a:ext uri="{FF2B5EF4-FFF2-40B4-BE49-F238E27FC236}">
                <a16:creationId xmlns:a16="http://schemas.microsoft.com/office/drawing/2014/main" xmlns="" id="{D4517951-9D42-454E-90E5-8013AEEAABBA}"/>
              </a:ext>
            </a:extLst>
          </p:cNvPr>
          <p:cNvSpPr>
            <a:spLocks noChangeArrowheads="1"/>
          </p:cNvSpPr>
          <p:nvPr/>
        </p:nvSpPr>
        <p:spPr bwMode="auto">
          <a:xfrm>
            <a:off x="5981930" y="2511002"/>
            <a:ext cx="269182" cy="269182"/>
          </a:xfrm>
          <a:custGeom>
            <a:avLst/>
            <a:gdLst>
              <a:gd name="T0" fmla="*/ 0 w 1421"/>
              <a:gd name="T1" fmla="*/ 709 h 1421"/>
              <a:gd name="T2" fmla="*/ 710 w 1421"/>
              <a:gd name="T3" fmla="*/ 0 h 1421"/>
              <a:gd name="T4" fmla="*/ 710 w 1421"/>
              <a:gd name="T5" fmla="*/ 0 h 1421"/>
              <a:gd name="T6" fmla="*/ 710 w 1421"/>
              <a:gd name="T7" fmla="*/ 0 h 1421"/>
              <a:gd name="T8" fmla="*/ 1420 w 1421"/>
              <a:gd name="T9" fmla="*/ 709 h 1421"/>
              <a:gd name="T10" fmla="*/ 1420 w 1421"/>
              <a:gd name="T11" fmla="*/ 709 h 1421"/>
              <a:gd name="T12" fmla="*/ 1420 w 1421"/>
              <a:gd name="T13" fmla="*/ 709 h 1421"/>
              <a:gd name="T14" fmla="*/ 710 w 1421"/>
              <a:gd name="T15" fmla="*/ 1420 h 1421"/>
              <a:gd name="T16" fmla="*/ 710 w 1421"/>
              <a:gd name="T17" fmla="*/ 1420 h 1421"/>
              <a:gd name="T18" fmla="*/ 710 w 1421"/>
              <a:gd name="T19" fmla="*/ 1420 h 1421"/>
              <a:gd name="T20" fmla="*/ 0 w 1421"/>
              <a:gd name="T21" fmla="*/ 709 h 1421"/>
              <a:gd name="T22" fmla="*/ 0 w 1421"/>
              <a:gd name="T23" fmla="*/ 709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1" h="1421">
                <a:moveTo>
                  <a:pt x="0" y="709"/>
                </a:moveTo>
                <a:cubicBezTo>
                  <a:pt x="0" y="318"/>
                  <a:pt x="318" y="0"/>
                  <a:pt x="710" y="0"/>
                </a:cubicBezTo>
                <a:lnTo>
                  <a:pt x="710" y="0"/>
                </a:lnTo>
                <a:lnTo>
                  <a:pt x="710" y="0"/>
                </a:lnTo>
                <a:cubicBezTo>
                  <a:pt x="1102" y="0"/>
                  <a:pt x="1420" y="318"/>
                  <a:pt x="1420" y="709"/>
                </a:cubicBezTo>
                <a:lnTo>
                  <a:pt x="1420" y="709"/>
                </a:lnTo>
                <a:lnTo>
                  <a:pt x="1420" y="709"/>
                </a:lnTo>
                <a:cubicBezTo>
                  <a:pt x="1420" y="1102"/>
                  <a:pt x="1102" y="1420"/>
                  <a:pt x="710" y="1420"/>
                </a:cubicBezTo>
                <a:lnTo>
                  <a:pt x="710" y="1420"/>
                </a:lnTo>
                <a:lnTo>
                  <a:pt x="710" y="1420"/>
                </a:lnTo>
                <a:cubicBezTo>
                  <a:pt x="318" y="1420"/>
                  <a:pt x="0" y="1102"/>
                  <a:pt x="0" y="709"/>
                </a:cubicBezTo>
                <a:lnTo>
                  <a:pt x="0" y="709"/>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5" name="Freeform 10">
            <a:extLst>
              <a:ext uri="{FF2B5EF4-FFF2-40B4-BE49-F238E27FC236}">
                <a16:creationId xmlns:a16="http://schemas.microsoft.com/office/drawing/2014/main" xmlns="" id="{99837C0B-0C0A-482F-80D7-3D9036F343BF}"/>
              </a:ext>
            </a:extLst>
          </p:cNvPr>
          <p:cNvSpPr>
            <a:spLocks noChangeArrowheads="1"/>
          </p:cNvSpPr>
          <p:nvPr/>
        </p:nvSpPr>
        <p:spPr bwMode="auto">
          <a:xfrm>
            <a:off x="5473660" y="3718980"/>
            <a:ext cx="269182" cy="269182"/>
          </a:xfrm>
          <a:custGeom>
            <a:avLst/>
            <a:gdLst>
              <a:gd name="T0" fmla="*/ 0 w 1422"/>
              <a:gd name="T1" fmla="*/ 711 h 1421"/>
              <a:gd name="T2" fmla="*/ 710 w 1422"/>
              <a:gd name="T3" fmla="*/ 0 h 1421"/>
              <a:gd name="T4" fmla="*/ 710 w 1422"/>
              <a:gd name="T5" fmla="*/ 0 h 1421"/>
              <a:gd name="T6" fmla="*/ 710 w 1422"/>
              <a:gd name="T7" fmla="*/ 0 h 1421"/>
              <a:gd name="T8" fmla="*/ 1421 w 1422"/>
              <a:gd name="T9" fmla="*/ 711 h 1421"/>
              <a:gd name="T10" fmla="*/ 1421 w 1422"/>
              <a:gd name="T11" fmla="*/ 711 h 1421"/>
              <a:gd name="T12" fmla="*/ 1421 w 1422"/>
              <a:gd name="T13" fmla="*/ 711 h 1421"/>
              <a:gd name="T14" fmla="*/ 710 w 1422"/>
              <a:gd name="T15" fmla="*/ 1420 h 1421"/>
              <a:gd name="T16" fmla="*/ 710 w 1422"/>
              <a:gd name="T17" fmla="*/ 1420 h 1421"/>
              <a:gd name="T18" fmla="*/ 710 w 1422"/>
              <a:gd name="T19" fmla="*/ 1420 h 1421"/>
              <a:gd name="T20" fmla="*/ 0 w 1422"/>
              <a:gd name="T21" fmla="*/ 711 h 1421"/>
              <a:gd name="T22" fmla="*/ 0 w 1422"/>
              <a:gd name="T23" fmla="*/ 71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2" h="1421">
                <a:moveTo>
                  <a:pt x="0" y="711"/>
                </a:moveTo>
                <a:cubicBezTo>
                  <a:pt x="0" y="319"/>
                  <a:pt x="318" y="0"/>
                  <a:pt x="710" y="0"/>
                </a:cubicBezTo>
                <a:lnTo>
                  <a:pt x="710" y="0"/>
                </a:lnTo>
                <a:lnTo>
                  <a:pt x="710" y="0"/>
                </a:lnTo>
                <a:cubicBezTo>
                  <a:pt x="1103" y="0"/>
                  <a:pt x="1421" y="319"/>
                  <a:pt x="1421" y="711"/>
                </a:cubicBezTo>
                <a:lnTo>
                  <a:pt x="1421" y="711"/>
                </a:lnTo>
                <a:lnTo>
                  <a:pt x="1421" y="711"/>
                </a:lnTo>
                <a:cubicBezTo>
                  <a:pt x="1421" y="1102"/>
                  <a:pt x="1103" y="1420"/>
                  <a:pt x="710" y="1420"/>
                </a:cubicBezTo>
                <a:lnTo>
                  <a:pt x="710" y="1420"/>
                </a:lnTo>
                <a:lnTo>
                  <a:pt x="710" y="1420"/>
                </a:lnTo>
                <a:cubicBezTo>
                  <a:pt x="318" y="1420"/>
                  <a:pt x="0" y="1102"/>
                  <a:pt x="0" y="711"/>
                </a:cubicBezTo>
                <a:lnTo>
                  <a:pt x="0" y="711"/>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6" name="Freeform 11">
            <a:extLst>
              <a:ext uri="{FF2B5EF4-FFF2-40B4-BE49-F238E27FC236}">
                <a16:creationId xmlns:a16="http://schemas.microsoft.com/office/drawing/2014/main" xmlns="" id="{A537081B-F661-4F86-9E01-EE41B5934D66}"/>
              </a:ext>
            </a:extLst>
          </p:cNvPr>
          <p:cNvSpPr>
            <a:spLocks noChangeArrowheads="1"/>
          </p:cNvSpPr>
          <p:nvPr/>
        </p:nvSpPr>
        <p:spPr bwMode="auto">
          <a:xfrm>
            <a:off x="5981930" y="4938661"/>
            <a:ext cx="269182" cy="269182"/>
          </a:xfrm>
          <a:custGeom>
            <a:avLst/>
            <a:gdLst>
              <a:gd name="T0" fmla="*/ 0 w 1421"/>
              <a:gd name="T1" fmla="*/ 710 h 1422"/>
              <a:gd name="T2" fmla="*/ 710 w 1421"/>
              <a:gd name="T3" fmla="*/ 0 h 1422"/>
              <a:gd name="T4" fmla="*/ 710 w 1421"/>
              <a:gd name="T5" fmla="*/ 0 h 1422"/>
              <a:gd name="T6" fmla="*/ 710 w 1421"/>
              <a:gd name="T7" fmla="*/ 0 h 1422"/>
              <a:gd name="T8" fmla="*/ 1420 w 1421"/>
              <a:gd name="T9" fmla="*/ 710 h 1422"/>
              <a:gd name="T10" fmla="*/ 1420 w 1421"/>
              <a:gd name="T11" fmla="*/ 710 h 1422"/>
              <a:gd name="T12" fmla="*/ 1420 w 1421"/>
              <a:gd name="T13" fmla="*/ 710 h 1422"/>
              <a:gd name="T14" fmla="*/ 710 w 1421"/>
              <a:gd name="T15" fmla="*/ 1421 h 1422"/>
              <a:gd name="T16" fmla="*/ 710 w 1421"/>
              <a:gd name="T17" fmla="*/ 1421 h 1422"/>
              <a:gd name="T18" fmla="*/ 710 w 1421"/>
              <a:gd name="T19" fmla="*/ 1421 h 1422"/>
              <a:gd name="T20" fmla="*/ 0 w 1421"/>
              <a:gd name="T21" fmla="*/ 710 h 1422"/>
              <a:gd name="T22" fmla="*/ 0 w 1421"/>
              <a:gd name="T23" fmla="*/ 710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1" h="1422">
                <a:moveTo>
                  <a:pt x="0" y="710"/>
                </a:moveTo>
                <a:cubicBezTo>
                  <a:pt x="0" y="318"/>
                  <a:pt x="318" y="0"/>
                  <a:pt x="710" y="0"/>
                </a:cubicBezTo>
                <a:lnTo>
                  <a:pt x="710" y="0"/>
                </a:lnTo>
                <a:lnTo>
                  <a:pt x="710" y="0"/>
                </a:lnTo>
                <a:cubicBezTo>
                  <a:pt x="1102" y="0"/>
                  <a:pt x="1420" y="318"/>
                  <a:pt x="1420" y="710"/>
                </a:cubicBezTo>
                <a:lnTo>
                  <a:pt x="1420" y="710"/>
                </a:lnTo>
                <a:lnTo>
                  <a:pt x="1420" y="710"/>
                </a:lnTo>
                <a:cubicBezTo>
                  <a:pt x="1420" y="1102"/>
                  <a:pt x="1102" y="1421"/>
                  <a:pt x="710" y="1421"/>
                </a:cubicBezTo>
                <a:lnTo>
                  <a:pt x="710" y="1421"/>
                </a:lnTo>
                <a:lnTo>
                  <a:pt x="710" y="1421"/>
                </a:lnTo>
                <a:cubicBezTo>
                  <a:pt x="318" y="1421"/>
                  <a:pt x="0" y="1102"/>
                  <a:pt x="0" y="710"/>
                </a:cubicBezTo>
                <a:lnTo>
                  <a:pt x="0" y="710"/>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7" name="Freeform 13">
            <a:extLst>
              <a:ext uri="{FF2B5EF4-FFF2-40B4-BE49-F238E27FC236}">
                <a16:creationId xmlns:a16="http://schemas.microsoft.com/office/drawing/2014/main" xmlns="" id="{77FD1867-2832-493C-AB6C-D1BC0D43F430}"/>
              </a:ext>
            </a:extLst>
          </p:cNvPr>
          <p:cNvSpPr>
            <a:spLocks noChangeArrowheads="1"/>
          </p:cNvSpPr>
          <p:nvPr/>
        </p:nvSpPr>
        <p:spPr bwMode="auto">
          <a:xfrm>
            <a:off x="8409590" y="4938661"/>
            <a:ext cx="269182" cy="269182"/>
          </a:xfrm>
          <a:custGeom>
            <a:avLst/>
            <a:gdLst>
              <a:gd name="T0" fmla="*/ 0 w 1422"/>
              <a:gd name="T1" fmla="*/ 710 h 1422"/>
              <a:gd name="T2" fmla="*/ 711 w 1422"/>
              <a:gd name="T3" fmla="*/ 0 h 1422"/>
              <a:gd name="T4" fmla="*/ 711 w 1422"/>
              <a:gd name="T5" fmla="*/ 0 h 1422"/>
              <a:gd name="T6" fmla="*/ 711 w 1422"/>
              <a:gd name="T7" fmla="*/ 0 h 1422"/>
              <a:gd name="T8" fmla="*/ 1421 w 1422"/>
              <a:gd name="T9" fmla="*/ 710 h 1422"/>
              <a:gd name="T10" fmla="*/ 1421 w 1422"/>
              <a:gd name="T11" fmla="*/ 710 h 1422"/>
              <a:gd name="T12" fmla="*/ 1421 w 1422"/>
              <a:gd name="T13" fmla="*/ 710 h 1422"/>
              <a:gd name="T14" fmla="*/ 711 w 1422"/>
              <a:gd name="T15" fmla="*/ 1421 h 1422"/>
              <a:gd name="T16" fmla="*/ 711 w 1422"/>
              <a:gd name="T17" fmla="*/ 1421 h 1422"/>
              <a:gd name="T18" fmla="*/ 711 w 1422"/>
              <a:gd name="T19" fmla="*/ 1421 h 1422"/>
              <a:gd name="T20" fmla="*/ 0 w 1422"/>
              <a:gd name="T21" fmla="*/ 710 h 1422"/>
              <a:gd name="T22" fmla="*/ 0 w 1422"/>
              <a:gd name="T23" fmla="*/ 710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2" h="1422">
                <a:moveTo>
                  <a:pt x="0" y="710"/>
                </a:moveTo>
                <a:cubicBezTo>
                  <a:pt x="0" y="318"/>
                  <a:pt x="318" y="0"/>
                  <a:pt x="711" y="0"/>
                </a:cubicBezTo>
                <a:lnTo>
                  <a:pt x="711" y="0"/>
                </a:lnTo>
                <a:lnTo>
                  <a:pt x="711" y="0"/>
                </a:lnTo>
                <a:cubicBezTo>
                  <a:pt x="1103" y="0"/>
                  <a:pt x="1421" y="318"/>
                  <a:pt x="1421" y="710"/>
                </a:cubicBezTo>
                <a:lnTo>
                  <a:pt x="1421" y="710"/>
                </a:lnTo>
                <a:lnTo>
                  <a:pt x="1421" y="710"/>
                </a:lnTo>
                <a:cubicBezTo>
                  <a:pt x="1421" y="1102"/>
                  <a:pt x="1103" y="1421"/>
                  <a:pt x="711" y="1421"/>
                </a:cubicBezTo>
                <a:lnTo>
                  <a:pt x="711" y="1421"/>
                </a:lnTo>
                <a:lnTo>
                  <a:pt x="711" y="1421"/>
                </a:lnTo>
                <a:cubicBezTo>
                  <a:pt x="318" y="1421"/>
                  <a:pt x="0" y="1102"/>
                  <a:pt x="0" y="710"/>
                </a:cubicBezTo>
                <a:lnTo>
                  <a:pt x="0" y="710"/>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8" name="Freeform 14">
            <a:extLst>
              <a:ext uri="{FF2B5EF4-FFF2-40B4-BE49-F238E27FC236}">
                <a16:creationId xmlns:a16="http://schemas.microsoft.com/office/drawing/2014/main" xmlns="" id="{50DC0271-71D1-4088-B5ED-7A1AEEB75770}"/>
              </a:ext>
            </a:extLst>
          </p:cNvPr>
          <p:cNvSpPr>
            <a:spLocks noChangeArrowheads="1"/>
          </p:cNvSpPr>
          <p:nvPr/>
        </p:nvSpPr>
        <p:spPr bwMode="auto">
          <a:xfrm>
            <a:off x="8912844" y="3724831"/>
            <a:ext cx="269182" cy="269182"/>
          </a:xfrm>
          <a:custGeom>
            <a:avLst/>
            <a:gdLst>
              <a:gd name="T0" fmla="*/ 0 w 1421"/>
              <a:gd name="T1" fmla="*/ 709 h 1420"/>
              <a:gd name="T2" fmla="*/ 710 w 1421"/>
              <a:gd name="T3" fmla="*/ 0 h 1420"/>
              <a:gd name="T4" fmla="*/ 710 w 1421"/>
              <a:gd name="T5" fmla="*/ 0 h 1420"/>
              <a:gd name="T6" fmla="*/ 710 w 1421"/>
              <a:gd name="T7" fmla="*/ 0 h 1420"/>
              <a:gd name="T8" fmla="*/ 1420 w 1421"/>
              <a:gd name="T9" fmla="*/ 709 h 1420"/>
              <a:gd name="T10" fmla="*/ 1420 w 1421"/>
              <a:gd name="T11" fmla="*/ 709 h 1420"/>
              <a:gd name="T12" fmla="*/ 1420 w 1421"/>
              <a:gd name="T13" fmla="*/ 709 h 1420"/>
              <a:gd name="T14" fmla="*/ 710 w 1421"/>
              <a:gd name="T15" fmla="*/ 1419 h 1420"/>
              <a:gd name="T16" fmla="*/ 710 w 1421"/>
              <a:gd name="T17" fmla="*/ 1419 h 1420"/>
              <a:gd name="T18" fmla="*/ 710 w 1421"/>
              <a:gd name="T19" fmla="*/ 1419 h 1420"/>
              <a:gd name="T20" fmla="*/ 0 w 1421"/>
              <a:gd name="T21" fmla="*/ 709 h 1420"/>
              <a:gd name="T22" fmla="*/ 0 w 1421"/>
              <a:gd name="T23" fmla="*/ 709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1" h="1420">
                <a:moveTo>
                  <a:pt x="0" y="709"/>
                </a:moveTo>
                <a:cubicBezTo>
                  <a:pt x="0" y="318"/>
                  <a:pt x="318" y="0"/>
                  <a:pt x="710" y="0"/>
                </a:cubicBezTo>
                <a:lnTo>
                  <a:pt x="710" y="0"/>
                </a:lnTo>
                <a:lnTo>
                  <a:pt x="710" y="0"/>
                </a:lnTo>
                <a:cubicBezTo>
                  <a:pt x="1102" y="0"/>
                  <a:pt x="1420" y="318"/>
                  <a:pt x="1420" y="709"/>
                </a:cubicBezTo>
                <a:lnTo>
                  <a:pt x="1420" y="709"/>
                </a:lnTo>
                <a:lnTo>
                  <a:pt x="1420" y="709"/>
                </a:lnTo>
                <a:cubicBezTo>
                  <a:pt x="1420" y="1101"/>
                  <a:pt x="1102" y="1419"/>
                  <a:pt x="710" y="1419"/>
                </a:cubicBezTo>
                <a:lnTo>
                  <a:pt x="710" y="1419"/>
                </a:lnTo>
                <a:lnTo>
                  <a:pt x="710" y="1419"/>
                </a:lnTo>
                <a:cubicBezTo>
                  <a:pt x="318" y="1419"/>
                  <a:pt x="0" y="1101"/>
                  <a:pt x="0" y="709"/>
                </a:cubicBezTo>
                <a:lnTo>
                  <a:pt x="0" y="709"/>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9" name="Freeform 15">
            <a:extLst>
              <a:ext uri="{FF2B5EF4-FFF2-40B4-BE49-F238E27FC236}">
                <a16:creationId xmlns:a16="http://schemas.microsoft.com/office/drawing/2014/main" xmlns="" id="{7C2A37BA-6C5F-431C-99EF-10CB6B2B3E0E}"/>
              </a:ext>
            </a:extLst>
          </p:cNvPr>
          <p:cNvSpPr>
            <a:spLocks noChangeArrowheads="1"/>
          </p:cNvSpPr>
          <p:nvPr/>
        </p:nvSpPr>
        <p:spPr bwMode="auto">
          <a:xfrm>
            <a:off x="8409590" y="2511002"/>
            <a:ext cx="269182" cy="269182"/>
          </a:xfrm>
          <a:custGeom>
            <a:avLst/>
            <a:gdLst>
              <a:gd name="T0" fmla="*/ 0 w 1422"/>
              <a:gd name="T1" fmla="*/ 709 h 1421"/>
              <a:gd name="T2" fmla="*/ 711 w 1422"/>
              <a:gd name="T3" fmla="*/ 0 h 1421"/>
              <a:gd name="T4" fmla="*/ 711 w 1422"/>
              <a:gd name="T5" fmla="*/ 0 h 1421"/>
              <a:gd name="T6" fmla="*/ 711 w 1422"/>
              <a:gd name="T7" fmla="*/ 0 h 1421"/>
              <a:gd name="T8" fmla="*/ 1421 w 1422"/>
              <a:gd name="T9" fmla="*/ 709 h 1421"/>
              <a:gd name="T10" fmla="*/ 1421 w 1422"/>
              <a:gd name="T11" fmla="*/ 709 h 1421"/>
              <a:gd name="T12" fmla="*/ 1421 w 1422"/>
              <a:gd name="T13" fmla="*/ 709 h 1421"/>
              <a:gd name="T14" fmla="*/ 711 w 1422"/>
              <a:gd name="T15" fmla="*/ 1420 h 1421"/>
              <a:gd name="T16" fmla="*/ 711 w 1422"/>
              <a:gd name="T17" fmla="*/ 1420 h 1421"/>
              <a:gd name="T18" fmla="*/ 711 w 1422"/>
              <a:gd name="T19" fmla="*/ 1420 h 1421"/>
              <a:gd name="T20" fmla="*/ 0 w 1422"/>
              <a:gd name="T21" fmla="*/ 709 h 1421"/>
              <a:gd name="T22" fmla="*/ 0 w 1422"/>
              <a:gd name="T23" fmla="*/ 709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2" h="1421">
                <a:moveTo>
                  <a:pt x="0" y="709"/>
                </a:moveTo>
                <a:cubicBezTo>
                  <a:pt x="0" y="318"/>
                  <a:pt x="318" y="0"/>
                  <a:pt x="711" y="0"/>
                </a:cubicBezTo>
                <a:lnTo>
                  <a:pt x="711" y="0"/>
                </a:lnTo>
                <a:lnTo>
                  <a:pt x="711" y="0"/>
                </a:lnTo>
                <a:cubicBezTo>
                  <a:pt x="1103" y="0"/>
                  <a:pt x="1421" y="318"/>
                  <a:pt x="1421" y="709"/>
                </a:cubicBezTo>
                <a:lnTo>
                  <a:pt x="1421" y="709"/>
                </a:lnTo>
                <a:lnTo>
                  <a:pt x="1421" y="709"/>
                </a:lnTo>
                <a:cubicBezTo>
                  <a:pt x="1421" y="1102"/>
                  <a:pt x="1103" y="1420"/>
                  <a:pt x="711" y="1420"/>
                </a:cubicBezTo>
                <a:lnTo>
                  <a:pt x="711" y="1420"/>
                </a:lnTo>
                <a:lnTo>
                  <a:pt x="711" y="1420"/>
                </a:lnTo>
                <a:cubicBezTo>
                  <a:pt x="318" y="1420"/>
                  <a:pt x="0" y="1102"/>
                  <a:pt x="0" y="709"/>
                </a:cubicBezTo>
                <a:lnTo>
                  <a:pt x="0" y="709"/>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20" name="Freeform 23">
            <a:extLst>
              <a:ext uri="{FF2B5EF4-FFF2-40B4-BE49-F238E27FC236}">
                <a16:creationId xmlns:a16="http://schemas.microsoft.com/office/drawing/2014/main" xmlns="" id="{68A154F5-E8FE-432D-A1A4-74B76FD71934}"/>
              </a:ext>
            </a:extLst>
          </p:cNvPr>
          <p:cNvSpPr>
            <a:spLocks noChangeArrowheads="1"/>
          </p:cNvSpPr>
          <p:nvPr/>
        </p:nvSpPr>
        <p:spPr bwMode="auto">
          <a:xfrm>
            <a:off x="5853191" y="3813445"/>
            <a:ext cx="1476324" cy="1289903"/>
          </a:xfrm>
          <a:custGeom>
            <a:avLst/>
            <a:gdLst>
              <a:gd name="T0" fmla="*/ 7786 w 7787"/>
              <a:gd name="T1" fmla="*/ 279 h 6805"/>
              <a:gd name="T2" fmla="*/ 7557 w 7787"/>
              <a:gd name="T3" fmla="*/ 0 h 6805"/>
              <a:gd name="T4" fmla="*/ 2908 w 7787"/>
              <a:gd name="T5" fmla="*/ 3829 h 6805"/>
              <a:gd name="T6" fmla="*/ 2250 w 7787"/>
              <a:gd name="T7" fmla="*/ 3551 h 6805"/>
              <a:gd name="T8" fmla="*/ 0 w 7787"/>
              <a:gd name="T9" fmla="*/ 4953 h 6805"/>
              <a:gd name="T10" fmla="*/ 1459 w 7787"/>
              <a:gd name="T11" fmla="*/ 5022 h 6805"/>
              <a:gd name="T12" fmla="*/ 1441 w 7787"/>
              <a:gd name="T13" fmla="*/ 5038 h 6805"/>
              <a:gd name="T14" fmla="*/ 1441 w 7787"/>
              <a:gd name="T15" fmla="*/ 5038 h 6805"/>
              <a:gd name="T16" fmla="*/ 1414 w 7787"/>
              <a:gd name="T17" fmla="*/ 5066 h 6805"/>
              <a:gd name="T18" fmla="*/ 1414 w 7787"/>
              <a:gd name="T19" fmla="*/ 5066 h 6805"/>
              <a:gd name="T20" fmla="*/ 1410 w 7787"/>
              <a:gd name="T21" fmla="*/ 5071 h 6805"/>
              <a:gd name="T22" fmla="*/ 1410 w 7787"/>
              <a:gd name="T23" fmla="*/ 5071 h 6805"/>
              <a:gd name="T24" fmla="*/ 1393 w 7787"/>
              <a:gd name="T25" fmla="*/ 5098 h 6805"/>
              <a:gd name="T26" fmla="*/ 1393 w 7787"/>
              <a:gd name="T27" fmla="*/ 5098 h 6805"/>
              <a:gd name="T28" fmla="*/ 1392 w 7787"/>
              <a:gd name="T29" fmla="*/ 5101 h 6805"/>
              <a:gd name="T30" fmla="*/ 1392 w 7787"/>
              <a:gd name="T31" fmla="*/ 5101 h 6805"/>
              <a:gd name="T32" fmla="*/ 1380 w 7787"/>
              <a:gd name="T33" fmla="*/ 5134 h 6805"/>
              <a:gd name="T34" fmla="*/ 1380 w 7787"/>
              <a:gd name="T35" fmla="*/ 5134 h 6805"/>
              <a:gd name="T36" fmla="*/ 1380 w 7787"/>
              <a:gd name="T37" fmla="*/ 5134 h 6805"/>
              <a:gd name="T38" fmla="*/ 1380 w 7787"/>
              <a:gd name="T39" fmla="*/ 5134 h 6805"/>
              <a:gd name="T40" fmla="*/ 1375 w 7787"/>
              <a:gd name="T41" fmla="*/ 5172 h 6805"/>
              <a:gd name="T42" fmla="*/ 1375 w 7787"/>
              <a:gd name="T43" fmla="*/ 5172 h 6805"/>
              <a:gd name="T44" fmla="*/ 1375 w 7787"/>
              <a:gd name="T45" fmla="*/ 5172 h 6805"/>
              <a:gd name="T46" fmla="*/ 1415 w 7787"/>
              <a:gd name="T47" fmla="*/ 5292 h 6805"/>
              <a:gd name="T48" fmla="*/ 1415 w 7787"/>
              <a:gd name="T49" fmla="*/ 5292 h 6805"/>
              <a:gd name="T50" fmla="*/ 1554 w 7787"/>
              <a:gd name="T51" fmla="*/ 5357 h 6805"/>
              <a:gd name="T52" fmla="*/ 1322 w 7787"/>
              <a:gd name="T53" fmla="*/ 6804 h 6805"/>
              <a:gd name="T54" fmla="*/ 3143 w 7787"/>
              <a:gd name="T55" fmla="*/ 4878 h 6805"/>
              <a:gd name="T56" fmla="*/ 3009 w 7787"/>
              <a:gd name="T57" fmla="*/ 4215 h 6805"/>
              <a:gd name="T58" fmla="*/ 7786 w 7787"/>
              <a:gd name="T59" fmla="*/ 279 h 6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787" h="6805">
                <a:moveTo>
                  <a:pt x="7786" y="279"/>
                </a:moveTo>
                <a:lnTo>
                  <a:pt x="7557" y="0"/>
                </a:lnTo>
                <a:lnTo>
                  <a:pt x="2908" y="3829"/>
                </a:lnTo>
                <a:lnTo>
                  <a:pt x="2250" y="3551"/>
                </a:lnTo>
                <a:lnTo>
                  <a:pt x="0" y="4953"/>
                </a:lnTo>
                <a:lnTo>
                  <a:pt x="1459" y="5022"/>
                </a:lnTo>
                <a:lnTo>
                  <a:pt x="1441" y="5038"/>
                </a:lnTo>
                <a:lnTo>
                  <a:pt x="1441" y="5038"/>
                </a:lnTo>
                <a:cubicBezTo>
                  <a:pt x="1430" y="5046"/>
                  <a:pt x="1421" y="5055"/>
                  <a:pt x="1414" y="5066"/>
                </a:cubicBezTo>
                <a:lnTo>
                  <a:pt x="1414" y="5066"/>
                </a:lnTo>
                <a:cubicBezTo>
                  <a:pt x="1412" y="5067"/>
                  <a:pt x="1411" y="5069"/>
                  <a:pt x="1410" y="5071"/>
                </a:cubicBezTo>
                <a:lnTo>
                  <a:pt x="1410" y="5071"/>
                </a:lnTo>
                <a:cubicBezTo>
                  <a:pt x="1404" y="5080"/>
                  <a:pt x="1397" y="5088"/>
                  <a:pt x="1393" y="5098"/>
                </a:cubicBezTo>
                <a:lnTo>
                  <a:pt x="1393" y="5098"/>
                </a:lnTo>
                <a:cubicBezTo>
                  <a:pt x="1393" y="5100"/>
                  <a:pt x="1392" y="5100"/>
                  <a:pt x="1392" y="5101"/>
                </a:cubicBezTo>
                <a:lnTo>
                  <a:pt x="1392" y="5101"/>
                </a:lnTo>
                <a:cubicBezTo>
                  <a:pt x="1387" y="5112"/>
                  <a:pt x="1383" y="5124"/>
                  <a:pt x="1380" y="5134"/>
                </a:cubicBezTo>
                <a:lnTo>
                  <a:pt x="1380" y="5134"/>
                </a:lnTo>
                <a:lnTo>
                  <a:pt x="1380" y="5134"/>
                </a:lnTo>
                <a:lnTo>
                  <a:pt x="1380" y="5134"/>
                </a:lnTo>
                <a:cubicBezTo>
                  <a:pt x="1377" y="5148"/>
                  <a:pt x="1375" y="5159"/>
                  <a:pt x="1375" y="5172"/>
                </a:cubicBezTo>
                <a:lnTo>
                  <a:pt x="1375" y="5172"/>
                </a:lnTo>
                <a:lnTo>
                  <a:pt x="1375" y="5172"/>
                </a:lnTo>
                <a:cubicBezTo>
                  <a:pt x="1373" y="5214"/>
                  <a:pt x="1387" y="5257"/>
                  <a:pt x="1415" y="5292"/>
                </a:cubicBezTo>
                <a:lnTo>
                  <a:pt x="1415" y="5292"/>
                </a:lnTo>
                <a:cubicBezTo>
                  <a:pt x="1451" y="5336"/>
                  <a:pt x="1502" y="5357"/>
                  <a:pt x="1554" y="5357"/>
                </a:cubicBezTo>
                <a:lnTo>
                  <a:pt x="1322" y="6804"/>
                </a:lnTo>
                <a:lnTo>
                  <a:pt x="3143" y="4878"/>
                </a:lnTo>
                <a:lnTo>
                  <a:pt x="3009" y="4215"/>
                </a:lnTo>
                <a:lnTo>
                  <a:pt x="7786" y="279"/>
                </a:lnTo>
              </a:path>
            </a:pathLst>
          </a:custGeom>
          <a:solidFill>
            <a:schemeClr val="accent6">
              <a:alpha val="60000"/>
            </a:schemeClr>
          </a:solidFill>
          <a:ln>
            <a:noFill/>
          </a:ln>
          <a:effectLst/>
        </p:spPr>
        <p:txBody>
          <a:bodyPr wrap="none" anchor="ctr"/>
          <a:lstStyle/>
          <a:p>
            <a:endParaRPr lang="en-GB" sz="5400" dirty="0">
              <a:latin typeface="+mj-lt"/>
            </a:endParaRPr>
          </a:p>
        </p:txBody>
      </p:sp>
      <p:sp>
        <p:nvSpPr>
          <p:cNvPr id="21" name="Freeform 24">
            <a:extLst>
              <a:ext uri="{FF2B5EF4-FFF2-40B4-BE49-F238E27FC236}">
                <a16:creationId xmlns:a16="http://schemas.microsoft.com/office/drawing/2014/main" xmlns="" id="{A2552EE8-9B9E-4878-9C63-E0BDB9102157}"/>
              </a:ext>
            </a:extLst>
          </p:cNvPr>
          <p:cNvSpPr>
            <a:spLocks noChangeArrowheads="1"/>
          </p:cNvSpPr>
          <p:nvPr/>
        </p:nvSpPr>
        <p:spPr bwMode="auto">
          <a:xfrm>
            <a:off x="6123210" y="2859601"/>
            <a:ext cx="1225533" cy="1019884"/>
          </a:xfrm>
          <a:custGeom>
            <a:avLst/>
            <a:gdLst>
              <a:gd name="T0" fmla="*/ 6432 w 6463"/>
              <a:gd name="T1" fmla="*/ 5101 h 5380"/>
              <a:gd name="T2" fmla="*/ 318 w 6463"/>
              <a:gd name="T3" fmla="*/ 62 h 5380"/>
              <a:gd name="T4" fmla="*/ 318 w 6463"/>
              <a:gd name="T5" fmla="*/ 62 h 5380"/>
              <a:gd name="T6" fmla="*/ 63 w 6463"/>
              <a:gd name="T7" fmla="*/ 88 h 5380"/>
              <a:gd name="T8" fmla="*/ 63 w 6463"/>
              <a:gd name="T9" fmla="*/ 88 h 5380"/>
              <a:gd name="T10" fmla="*/ 89 w 6463"/>
              <a:gd name="T11" fmla="*/ 342 h 5380"/>
              <a:gd name="T12" fmla="*/ 6205 w 6463"/>
              <a:gd name="T13" fmla="*/ 5379 h 5380"/>
              <a:gd name="T14" fmla="*/ 6205 w 6463"/>
              <a:gd name="T15" fmla="*/ 5379 h 5380"/>
              <a:gd name="T16" fmla="*/ 6384 w 6463"/>
              <a:gd name="T17" fmla="*/ 5280 h 5380"/>
              <a:gd name="T18" fmla="*/ 6384 w 6463"/>
              <a:gd name="T19" fmla="*/ 5280 h 5380"/>
              <a:gd name="T20" fmla="*/ 6432 w 6463"/>
              <a:gd name="T21" fmla="*/ 5101 h 5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63" h="5380">
                <a:moveTo>
                  <a:pt x="6432" y="5101"/>
                </a:moveTo>
                <a:lnTo>
                  <a:pt x="318" y="62"/>
                </a:lnTo>
                <a:lnTo>
                  <a:pt x="318" y="62"/>
                </a:lnTo>
                <a:cubicBezTo>
                  <a:pt x="240" y="0"/>
                  <a:pt x="126" y="10"/>
                  <a:pt x="63" y="88"/>
                </a:cubicBezTo>
                <a:lnTo>
                  <a:pt x="63" y="88"/>
                </a:lnTo>
                <a:cubicBezTo>
                  <a:pt x="0" y="165"/>
                  <a:pt x="11" y="279"/>
                  <a:pt x="89" y="342"/>
                </a:cubicBezTo>
                <a:lnTo>
                  <a:pt x="6205" y="5379"/>
                </a:lnTo>
                <a:lnTo>
                  <a:pt x="6205" y="5379"/>
                </a:lnTo>
                <a:cubicBezTo>
                  <a:pt x="6205" y="5379"/>
                  <a:pt x="6306" y="5376"/>
                  <a:pt x="6384" y="5280"/>
                </a:cubicBezTo>
                <a:lnTo>
                  <a:pt x="6384" y="5280"/>
                </a:lnTo>
                <a:cubicBezTo>
                  <a:pt x="6462" y="5184"/>
                  <a:pt x="6432" y="5101"/>
                  <a:pt x="6432" y="5101"/>
                </a:cubicBezTo>
              </a:path>
            </a:pathLst>
          </a:custGeom>
          <a:solidFill>
            <a:srgbClr val="A67C5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5400" dirty="0">
              <a:latin typeface="+mj-lt"/>
            </a:endParaRPr>
          </a:p>
        </p:txBody>
      </p:sp>
      <p:sp>
        <p:nvSpPr>
          <p:cNvPr id="22" name="Freeform 19">
            <a:extLst>
              <a:ext uri="{FF2B5EF4-FFF2-40B4-BE49-F238E27FC236}">
                <a16:creationId xmlns:a16="http://schemas.microsoft.com/office/drawing/2014/main" xmlns="" id="{256BA2B1-C5FC-452D-863E-CB6D8110E81A}"/>
              </a:ext>
            </a:extLst>
          </p:cNvPr>
          <p:cNvSpPr>
            <a:spLocks noChangeArrowheads="1"/>
          </p:cNvSpPr>
          <p:nvPr/>
        </p:nvSpPr>
        <p:spPr bwMode="auto">
          <a:xfrm>
            <a:off x="5867403" y="2603789"/>
            <a:ext cx="622609" cy="602550"/>
          </a:xfrm>
          <a:custGeom>
            <a:avLst/>
            <a:gdLst>
              <a:gd name="connsiteX0" fmla="*/ 951939 w 2145172"/>
              <a:gd name="connsiteY0" fmla="*/ 1114692 h 2076060"/>
              <a:gd name="connsiteX1" fmla="*/ 1903226 w 2145172"/>
              <a:gd name="connsiteY1" fmla="*/ 1891885 h 2076060"/>
              <a:gd name="connsiteX2" fmla="*/ 1467737 w 2145172"/>
              <a:gd name="connsiteY2" fmla="*/ 2076060 h 2076060"/>
              <a:gd name="connsiteX3" fmla="*/ 0 w 2145172"/>
              <a:gd name="connsiteY3" fmla="*/ 1159756 h 2076060"/>
              <a:gd name="connsiteX4" fmla="*/ 956260 w 2145172"/>
              <a:gd name="connsiteY4" fmla="*/ 0 h 2076060"/>
              <a:gd name="connsiteX5" fmla="*/ 2145172 w 2145172"/>
              <a:gd name="connsiteY5" fmla="*/ 1258315 h 2076060"/>
              <a:gd name="connsiteX6" fmla="*/ 2051207 w 2145172"/>
              <a:gd name="connsiteY6" fmla="*/ 1721768 h 2076060"/>
              <a:gd name="connsiteX7" fmla="*/ 1101122 w 2145172"/>
              <a:gd name="connsiteY7" fmla="*/ 943246 h 207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5172" h="2076060">
                <a:moveTo>
                  <a:pt x="951939" y="1114692"/>
                </a:moveTo>
                <a:lnTo>
                  <a:pt x="1903226" y="1891885"/>
                </a:lnTo>
                <a:lnTo>
                  <a:pt x="1467737" y="2076060"/>
                </a:lnTo>
                <a:lnTo>
                  <a:pt x="0" y="1159756"/>
                </a:lnTo>
                <a:close/>
                <a:moveTo>
                  <a:pt x="956260" y="0"/>
                </a:moveTo>
                <a:lnTo>
                  <a:pt x="2145172" y="1258315"/>
                </a:lnTo>
                <a:lnTo>
                  <a:pt x="2051207" y="1721768"/>
                </a:lnTo>
                <a:lnTo>
                  <a:pt x="1101122" y="943246"/>
                </a:lnTo>
                <a:close/>
              </a:path>
            </a:pathLst>
          </a:custGeom>
          <a:solidFill>
            <a:schemeClr val="accent5">
              <a:lumMod val="60000"/>
              <a:lumOff val="40000"/>
            </a:schemeClr>
          </a:solidFill>
          <a:ln>
            <a:noFill/>
          </a:ln>
          <a:effectLst/>
        </p:spPr>
        <p:txBody>
          <a:bodyPr wrap="square" anchor="ctr">
            <a:noAutofit/>
          </a:bodyPr>
          <a:lstStyle/>
          <a:p>
            <a:endParaRPr lang="en-GB" sz="5400" dirty="0">
              <a:latin typeface="+mj-lt"/>
            </a:endParaRPr>
          </a:p>
        </p:txBody>
      </p:sp>
      <p:sp>
        <p:nvSpPr>
          <p:cNvPr id="28" name="Subtitle 2">
            <a:extLst>
              <a:ext uri="{FF2B5EF4-FFF2-40B4-BE49-F238E27FC236}">
                <a16:creationId xmlns:a16="http://schemas.microsoft.com/office/drawing/2014/main" xmlns="" id="{0DE3AD2B-9117-4DBA-9198-3C73FFF53E49}"/>
              </a:ext>
            </a:extLst>
          </p:cNvPr>
          <p:cNvSpPr txBox="1">
            <a:spLocks/>
          </p:cNvSpPr>
          <p:nvPr/>
        </p:nvSpPr>
        <p:spPr>
          <a:xfrm>
            <a:off x="9392603" y="2120059"/>
            <a:ext cx="2309539" cy="340636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he mission statement is forward-looking and must therefore be checked for consistency in terms of content and further developed with stakeholders in the course of the restructuring process on the basis of the insights gained</a:t>
            </a:r>
            <a:endParaRPr lang="en-US" sz="2800" dirty="0">
              <a:solidFill>
                <a:srgbClr val="245473"/>
              </a:solidFill>
            </a:endParaRPr>
          </a:p>
        </p:txBody>
      </p:sp>
      <p:sp>
        <p:nvSpPr>
          <p:cNvPr id="30" name="Subtitle 2">
            <a:extLst>
              <a:ext uri="{FF2B5EF4-FFF2-40B4-BE49-F238E27FC236}">
                <a16:creationId xmlns:a16="http://schemas.microsoft.com/office/drawing/2014/main" xmlns="" id="{2C82B87E-962C-4EE5-93AA-C26A29CCA8E9}"/>
              </a:ext>
            </a:extLst>
          </p:cNvPr>
          <p:cNvSpPr txBox="1">
            <a:spLocks/>
          </p:cNvSpPr>
          <p:nvPr/>
        </p:nvSpPr>
        <p:spPr>
          <a:xfrm>
            <a:off x="3238690" y="4915796"/>
            <a:ext cx="2090722" cy="146737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he mission statement thus also includes a feasible, sustainable business model</a:t>
            </a:r>
            <a:endParaRPr lang="en-US" sz="2800" dirty="0">
              <a:solidFill>
                <a:srgbClr val="245473"/>
              </a:solidFill>
            </a:endParaRPr>
          </a:p>
        </p:txBody>
      </p:sp>
      <p:sp>
        <p:nvSpPr>
          <p:cNvPr id="33" name="Subtitle 2">
            <a:extLst>
              <a:ext uri="{FF2B5EF4-FFF2-40B4-BE49-F238E27FC236}">
                <a16:creationId xmlns:a16="http://schemas.microsoft.com/office/drawing/2014/main" xmlns="" id="{4E47BE71-C20B-4078-BE15-0711F414BD88}"/>
              </a:ext>
            </a:extLst>
          </p:cNvPr>
          <p:cNvSpPr txBox="1">
            <a:spLocks/>
          </p:cNvSpPr>
          <p:nvPr/>
        </p:nvSpPr>
        <p:spPr>
          <a:xfrm>
            <a:off x="3183693" y="1843478"/>
            <a:ext cx="2090722" cy="285236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he mission statement serves to identify the restructuring measures that are necessary to successfully position the company with its range of services in competition</a:t>
            </a:r>
            <a:endParaRPr lang="en-US" sz="2800" dirty="0">
              <a:solidFill>
                <a:srgbClr val="245473"/>
              </a:solidFill>
            </a:endParaRPr>
          </a:p>
        </p:txBody>
      </p:sp>
    </p:spTree>
    <p:extLst>
      <p:ext uri="{BB962C8B-B14F-4D97-AF65-F5344CB8AC3E}">
        <p14:creationId xmlns:p14="http://schemas.microsoft.com/office/powerpoint/2010/main" val="10864664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3208" y="658333"/>
            <a:ext cx="9949449" cy="697353"/>
          </a:xfrm>
        </p:spPr>
        <p:txBody>
          <a:bodyPr>
            <a:noAutofit/>
          </a:bodyPr>
          <a:lstStyle/>
          <a:p>
            <a:r>
              <a:rPr lang="en-GB" sz="2800" dirty="0"/>
              <a:t>Content of Restructuring Concepts: Integrated Business Planning, see Additional Resources also</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8214" y="2079795"/>
            <a:ext cx="3535930" cy="463747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Professional corporate planning is a key success factor. It makes transparent how the company should develop and provides the basis for sustainable decisions by owners, shareholders and capital providers. </a:t>
            </a:r>
            <a:endParaRPr lang="en-US" dirty="0">
              <a:solidFill>
                <a:srgbClr val="245473"/>
              </a:solidFill>
            </a:endParaRPr>
          </a:p>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Important: Professional planning makes it possible to identify where there is a need for change in the company. </a:t>
            </a:r>
          </a:p>
          <a:p>
            <a:pPr algn="l">
              <a:lnSpc>
                <a:spcPct val="100000"/>
              </a:lnSpc>
              <a:spcBef>
                <a:spcPts val="600"/>
              </a:spcBef>
            </a:pPr>
            <a:endParaRPr lang="en-US" sz="2200" dirty="0">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63C8703E-5EEA-4919-A837-F8C6CDD45AAD}"/>
              </a:ext>
            </a:extLst>
          </p:cNvPr>
          <p:cNvGrpSpPr/>
          <p:nvPr/>
        </p:nvGrpSpPr>
        <p:grpSpPr>
          <a:xfrm>
            <a:off x="5643856" y="2417228"/>
            <a:ext cx="3958829" cy="3455788"/>
            <a:chOff x="4094186" y="2417228"/>
            <a:chExt cx="3958829" cy="3455788"/>
          </a:xfrm>
        </p:grpSpPr>
        <p:sp>
          <p:nvSpPr>
            <p:cNvPr id="56" name="Фигура">
              <a:extLst>
                <a:ext uri="{FF2B5EF4-FFF2-40B4-BE49-F238E27FC236}">
                  <a16:creationId xmlns:a16="http://schemas.microsoft.com/office/drawing/2014/main" xmlns="" id="{7863407F-31F9-455F-9091-FB4A09BC17A3}"/>
                </a:ext>
              </a:extLst>
            </p:cNvPr>
            <p:cNvSpPr>
              <a:spLocks/>
            </p:cNvSpPr>
            <p:nvPr/>
          </p:nvSpPr>
          <p:spPr bwMode="auto">
            <a:xfrm>
              <a:off x="4151813" y="2417228"/>
              <a:ext cx="2475461" cy="3195325"/>
            </a:xfrm>
            <a:custGeom>
              <a:avLst/>
              <a:gdLst>
                <a:gd name="T0" fmla="*/ 3301058 w 21573"/>
                <a:gd name="T1" fmla="*/ 4260722 h 21596"/>
                <a:gd name="T2" fmla="*/ 3301058 w 21573"/>
                <a:gd name="T3" fmla="*/ 4260722 h 21596"/>
                <a:gd name="T4" fmla="*/ 3301058 w 21573"/>
                <a:gd name="T5" fmla="*/ 4260722 h 21596"/>
                <a:gd name="T6" fmla="*/ 3301058 w 21573"/>
                <a:gd name="T7" fmla="*/ 4260722 h 21596"/>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73" h="21596" extrusionOk="0">
                  <a:moveTo>
                    <a:pt x="16988" y="161"/>
                  </a:moveTo>
                  <a:cubicBezTo>
                    <a:pt x="17069" y="251"/>
                    <a:pt x="17141" y="345"/>
                    <a:pt x="17202" y="444"/>
                  </a:cubicBezTo>
                  <a:cubicBezTo>
                    <a:pt x="17267" y="549"/>
                    <a:pt x="17320" y="658"/>
                    <a:pt x="17374" y="766"/>
                  </a:cubicBezTo>
                  <a:cubicBezTo>
                    <a:pt x="17491" y="1004"/>
                    <a:pt x="17609" y="1242"/>
                    <a:pt x="17727" y="1480"/>
                  </a:cubicBezTo>
                  <a:cubicBezTo>
                    <a:pt x="17950" y="1923"/>
                    <a:pt x="18175" y="2366"/>
                    <a:pt x="18393" y="2810"/>
                  </a:cubicBezTo>
                  <a:cubicBezTo>
                    <a:pt x="18832" y="3701"/>
                    <a:pt x="19244" y="4598"/>
                    <a:pt x="19627" y="5502"/>
                  </a:cubicBezTo>
                  <a:cubicBezTo>
                    <a:pt x="20487" y="7531"/>
                    <a:pt x="21207" y="9607"/>
                    <a:pt x="21466" y="11747"/>
                  </a:cubicBezTo>
                  <a:cubicBezTo>
                    <a:pt x="21573" y="12629"/>
                    <a:pt x="21600" y="13517"/>
                    <a:pt x="21547" y="14403"/>
                  </a:cubicBezTo>
                  <a:cubicBezTo>
                    <a:pt x="21135" y="13190"/>
                    <a:pt x="19991" y="12208"/>
                    <a:pt x="18480" y="11768"/>
                  </a:cubicBezTo>
                  <a:cubicBezTo>
                    <a:pt x="15508" y="10900"/>
                    <a:pt x="12440" y="12228"/>
                    <a:pt x="9862" y="13780"/>
                  </a:cubicBezTo>
                  <a:cubicBezTo>
                    <a:pt x="8949" y="14330"/>
                    <a:pt x="8061" y="14902"/>
                    <a:pt x="7209" y="15505"/>
                  </a:cubicBezTo>
                  <a:cubicBezTo>
                    <a:pt x="6338" y="16122"/>
                    <a:pt x="5507" y="16771"/>
                    <a:pt x="4695" y="17433"/>
                  </a:cubicBezTo>
                  <a:cubicBezTo>
                    <a:pt x="3057" y="18767"/>
                    <a:pt x="1490" y="20156"/>
                    <a:pt x="0" y="21596"/>
                  </a:cubicBezTo>
                  <a:lnTo>
                    <a:pt x="16000" y="234"/>
                  </a:lnTo>
                  <a:cubicBezTo>
                    <a:pt x="16115" y="85"/>
                    <a:pt x="16324" y="-4"/>
                    <a:pt x="16548" y="1"/>
                  </a:cubicBezTo>
                  <a:cubicBezTo>
                    <a:pt x="16717" y="4"/>
                    <a:pt x="16876" y="62"/>
                    <a:pt x="16988" y="161"/>
                  </a:cubicBezTo>
                  <a:close/>
                </a:path>
              </a:pathLst>
            </a:custGeom>
            <a:solidFill>
              <a:schemeClr val="accent1"/>
            </a:solidFill>
            <a:ln>
              <a:noFill/>
            </a:ln>
          </p:spPr>
          <p:txBody>
            <a:bodyPr lIns="19050" tIns="19050" rIns="19050" bIns="19050" anchor="ctr"/>
            <a:lstStyle/>
            <a:p>
              <a:endParaRPr lang="en-US" sz="1600" dirty="0">
                <a:latin typeface="+mj-lt"/>
              </a:endParaRPr>
            </a:p>
          </p:txBody>
        </p:sp>
        <p:sp>
          <p:nvSpPr>
            <p:cNvPr id="64" name="Фигура">
              <a:extLst>
                <a:ext uri="{FF2B5EF4-FFF2-40B4-BE49-F238E27FC236}">
                  <a16:creationId xmlns:a16="http://schemas.microsoft.com/office/drawing/2014/main" xmlns="" id="{87E30826-A9C8-4169-AA03-4512D1660660}"/>
                </a:ext>
              </a:extLst>
            </p:cNvPr>
            <p:cNvSpPr/>
            <p:nvPr/>
          </p:nvSpPr>
          <p:spPr bwMode="auto">
            <a:xfrm>
              <a:off x="5902746" y="2647018"/>
              <a:ext cx="2150269" cy="3203972"/>
            </a:xfrm>
            <a:custGeom>
              <a:avLst/>
              <a:gdLst/>
              <a:ahLst/>
              <a:cxnLst>
                <a:cxn ang="0">
                  <a:pos x="wd2" y="hd2"/>
                </a:cxn>
                <a:cxn ang="5400000">
                  <a:pos x="wd2" y="hd2"/>
                </a:cxn>
                <a:cxn ang="10800000">
                  <a:pos x="wd2" y="hd2"/>
                </a:cxn>
                <a:cxn ang="16200000">
                  <a:pos x="wd2" y="hd2"/>
                </a:cxn>
              </a:cxnLst>
              <a:rect l="0" t="0" r="r" b="b"/>
              <a:pathLst>
                <a:path w="21558" h="21567" extrusionOk="0">
                  <a:moveTo>
                    <a:pt x="3512" y="0"/>
                  </a:moveTo>
                  <a:cubicBezTo>
                    <a:pt x="4175" y="1156"/>
                    <a:pt x="4788" y="2315"/>
                    <a:pt x="5355" y="3476"/>
                  </a:cubicBezTo>
                  <a:cubicBezTo>
                    <a:pt x="5923" y="4639"/>
                    <a:pt x="6444" y="5805"/>
                    <a:pt x="6856" y="6984"/>
                  </a:cubicBezTo>
                  <a:cubicBezTo>
                    <a:pt x="7297" y="8245"/>
                    <a:pt x="7619" y="9556"/>
                    <a:pt x="7767" y="10855"/>
                  </a:cubicBezTo>
                  <a:cubicBezTo>
                    <a:pt x="7914" y="12154"/>
                    <a:pt x="7886" y="13460"/>
                    <a:pt x="7238" y="14730"/>
                  </a:cubicBezTo>
                  <a:cubicBezTo>
                    <a:pt x="6912" y="15368"/>
                    <a:pt x="6429" y="15966"/>
                    <a:pt x="5737" y="16449"/>
                  </a:cubicBezTo>
                  <a:cubicBezTo>
                    <a:pt x="4261" y="17477"/>
                    <a:pt x="2052" y="17874"/>
                    <a:pt x="0" y="17469"/>
                  </a:cubicBezTo>
                  <a:cubicBezTo>
                    <a:pt x="736" y="17795"/>
                    <a:pt x="1499" y="18092"/>
                    <a:pt x="2286" y="18360"/>
                  </a:cubicBezTo>
                  <a:cubicBezTo>
                    <a:pt x="3025" y="18611"/>
                    <a:pt x="3785" y="18836"/>
                    <a:pt x="4555" y="19043"/>
                  </a:cubicBezTo>
                  <a:cubicBezTo>
                    <a:pt x="7143" y="19737"/>
                    <a:pt x="9835" y="20226"/>
                    <a:pt x="12548" y="20628"/>
                  </a:cubicBezTo>
                  <a:cubicBezTo>
                    <a:pt x="15191" y="21019"/>
                    <a:pt x="17864" y="21329"/>
                    <a:pt x="20558" y="21557"/>
                  </a:cubicBezTo>
                  <a:cubicBezTo>
                    <a:pt x="20900" y="21600"/>
                    <a:pt x="21247" y="21498"/>
                    <a:pt x="21431" y="21299"/>
                  </a:cubicBezTo>
                  <a:cubicBezTo>
                    <a:pt x="21587" y="21132"/>
                    <a:pt x="21600" y="20921"/>
                    <a:pt x="21465" y="20746"/>
                  </a:cubicBezTo>
                  <a:lnTo>
                    <a:pt x="3512" y="0"/>
                  </a:lnTo>
                  <a:close/>
                </a:path>
              </a:pathLst>
            </a:custGeom>
            <a:solidFill>
              <a:schemeClr val="accent2"/>
            </a:solidFill>
            <a:ln w="12700" cap="flat">
              <a:noFill/>
              <a:miter lim="400000"/>
            </a:ln>
            <a:effectLst/>
          </p:spPr>
          <p:txBody>
            <a:bodyPr lIns="19050" tIns="19050" rIns="19050" bIns="19050" anchor="ctr"/>
            <a:lstStyle/>
            <a:p>
              <a:pPr algn="ctr">
                <a:defRPr sz="3200">
                  <a:solidFill>
                    <a:srgbClr val="000000"/>
                  </a:solidFill>
                  <a:latin typeface="Helvetica Light"/>
                  <a:ea typeface="Helvetica Light"/>
                  <a:cs typeface="Helvetica Light"/>
                  <a:sym typeface="Helvetica Light"/>
                </a:defRPr>
              </a:pPr>
              <a:endParaRPr sz="1600" kern="0" dirty="0">
                <a:solidFill>
                  <a:srgbClr val="000000"/>
                </a:solidFill>
                <a:latin typeface="+mj-lt"/>
                <a:ea typeface="Lato Light" panose="020F0502020204030203" pitchFamily="34" charset="0"/>
                <a:cs typeface="Lato Light" panose="020F0502020204030203" pitchFamily="34" charset="0"/>
                <a:sym typeface="Helvetica Light"/>
              </a:endParaRPr>
            </a:p>
          </p:txBody>
        </p:sp>
        <p:sp>
          <p:nvSpPr>
            <p:cNvPr id="65" name="Фигура">
              <a:extLst>
                <a:ext uri="{FF2B5EF4-FFF2-40B4-BE49-F238E27FC236}">
                  <a16:creationId xmlns:a16="http://schemas.microsoft.com/office/drawing/2014/main" xmlns="" id="{7E73F8D5-5393-4B89-A5F3-727B18226DD1}"/>
                </a:ext>
              </a:extLst>
            </p:cNvPr>
            <p:cNvSpPr/>
            <p:nvPr/>
          </p:nvSpPr>
          <p:spPr bwMode="auto">
            <a:xfrm>
              <a:off x="4094186" y="4273412"/>
              <a:ext cx="3652242" cy="1599604"/>
            </a:xfrm>
            <a:custGeom>
              <a:avLst/>
              <a:gdLst/>
              <a:ahLst/>
              <a:cxnLst>
                <a:cxn ang="0">
                  <a:pos x="wd2" y="hd2"/>
                </a:cxn>
                <a:cxn ang="5400000">
                  <a:pos x="wd2" y="hd2"/>
                </a:cxn>
                <a:cxn ang="10800000">
                  <a:pos x="wd2" y="hd2"/>
                </a:cxn>
                <a:cxn ang="16200000">
                  <a:pos x="wd2" y="hd2"/>
                </a:cxn>
              </a:cxnLst>
              <a:rect l="0" t="0" r="r" b="b"/>
              <a:pathLst>
                <a:path w="21575" h="21600" extrusionOk="0">
                  <a:moveTo>
                    <a:pt x="9295" y="0"/>
                  </a:moveTo>
                  <a:cubicBezTo>
                    <a:pt x="8433" y="1842"/>
                    <a:pt x="8085" y="4539"/>
                    <a:pt x="8321" y="7079"/>
                  </a:cubicBezTo>
                  <a:cubicBezTo>
                    <a:pt x="8604" y="10122"/>
                    <a:pt x="9656" y="12421"/>
                    <a:pt x="10863" y="14178"/>
                  </a:cubicBezTo>
                  <a:cubicBezTo>
                    <a:pt x="11665" y="15344"/>
                    <a:pt x="12514" y="16273"/>
                    <a:pt x="13379" y="17055"/>
                  </a:cubicBezTo>
                  <a:cubicBezTo>
                    <a:pt x="14701" y="18250"/>
                    <a:pt x="16077" y="19120"/>
                    <a:pt x="17471" y="19853"/>
                  </a:cubicBezTo>
                  <a:cubicBezTo>
                    <a:pt x="18819" y="20562"/>
                    <a:pt x="20187" y="21146"/>
                    <a:pt x="21575" y="21600"/>
                  </a:cubicBezTo>
                  <a:lnTo>
                    <a:pt x="372" y="21590"/>
                  </a:lnTo>
                  <a:cubicBezTo>
                    <a:pt x="215" y="21557"/>
                    <a:pt x="80" y="21320"/>
                    <a:pt x="25" y="20981"/>
                  </a:cubicBezTo>
                  <a:cubicBezTo>
                    <a:pt x="-25" y="20669"/>
                    <a:pt x="1" y="20319"/>
                    <a:pt x="94" y="20064"/>
                  </a:cubicBezTo>
                  <a:cubicBezTo>
                    <a:pt x="851" y="17813"/>
                    <a:pt x="1636" y="15613"/>
                    <a:pt x="2448" y="13466"/>
                  </a:cubicBezTo>
                  <a:cubicBezTo>
                    <a:pt x="3470" y="10769"/>
                    <a:pt x="4534" y="8159"/>
                    <a:pt x="5694" y="5782"/>
                  </a:cubicBezTo>
                  <a:cubicBezTo>
                    <a:pt x="6253" y="4638"/>
                    <a:pt x="6833" y="3549"/>
                    <a:pt x="7446" y="2560"/>
                  </a:cubicBezTo>
                  <a:cubicBezTo>
                    <a:pt x="8035" y="1611"/>
                    <a:pt x="8652" y="755"/>
                    <a:pt x="9295" y="0"/>
                  </a:cubicBezTo>
                  <a:close/>
                </a:path>
              </a:pathLst>
            </a:custGeom>
            <a:solidFill>
              <a:schemeClr val="accent3"/>
            </a:solidFill>
            <a:ln w="12700" cap="flat">
              <a:noFill/>
              <a:miter lim="400000"/>
            </a:ln>
            <a:effectLst/>
          </p:spPr>
          <p:txBody>
            <a:bodyPr lIns="19050" tIns="19050" rIns="19050" bIns="19050" anchor="ctr"/>
            <a:lstStyle/>
            <a:p>
              <a:pPr algn="ctr">
                <a:defRPr sz="3200">
                  <a:solidFill>
                    <a:srgbClr val="000000"/>
                  </a:solidFill>
                  <a:latin typeface="Helvetica Light"/>
                  <a:ea typeface="Helvetica Light"/>
                  <a:cs typeface="Helvetica Light"/>
                  <a:sym typeface="Helvetica Light"/>
                </a:defRPr>
              </a:pPr>
              <a:endParaRPr sz="1600" kern="0" dirty="0">
                <a:solidFill>
                  <a:srgbClr val="000000"/>
                </a:solidFill>
                <a:latin typeface="+mj-lt"/>
                <a:ea typeface="Lato Light" panose="020F0502020204030203" pitchFamily="34" charset="0"/>
                <a:cs typeface="Lato Light" panose="020F0502020204030203" pitchFamily="34" charset="0"/>
                <a:sym typeface="Helvetica Light"/>
              </a:endParaRPr>
            </a:p>
          </p:txBody>
        </p:sp>
        <p:sp>
          <p:nvSpPr>
            <p:cNvPr id="67" name="TextBox 25">
              <a:extLst>
                <a:ext uri="{FF2B5EF4-FFF2-40B4-BE49-F238E27FC236}">
                  <a16:creationId xmlns:a16="http://schemas.microsoft.com/office/drawing/2014/main" xmlns="" id="{53AF438A-65E6-462F-82C0-A02F5CC4B3AF}"/>
                </a:ext>
              </a:extLst>
            </p:cNvPr>
            <p:cNvSpPr txBox="1"/>
            <p:nvPr/>
          </p:nvSpPr>
          <p:spPr>
            <a:xfrm>
              <a:off x="6565744" y="4672725"/>
              <a:ext cx="915635" cy="584775"/>
            </a:xfrm>
            <a:prstGeom prst="rect">
              <a:avLst/>
            </a:prstGeom>
            <a:noFill/>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Liquidity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Plan</a:t>
              </a:r>
            </a:p>
          </p:txBody>
        </p:sp>
        <p:sp>
          <p:nvSpPr>
            <p:cNvPr id="69" name="TextBox 27">
              <a:extLst>
                <a:ext uri="{FF2B5EF4-FFF2-40B4-BE49-F238E27FC236}">
                  <a16:creationId xmlns:a16="http://schemas.microsoft.com/office/drawing/2014/main" xmlns="" id="{E97C74B9-3D40-4C05-89E6-6D60E108BA2F}"/>
                </a:ext>
              </a:extLst>
            </p:cNvPr>
            <p:cNvSpPr txBox="1"/>
            <p:nvPr/>
          </p:nvSpPr>
          <p:spPr>
            <a:xfrm>
              <a:off x="4437596" y="5093046"/>
              <a:ext cx="1318566" cy="584775"/>
            </a:xfrm>
            <a:prstGeom prst="rect">
              <a:avLst/>
            </a:prstGeom>
            <a:noFill/>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Balance Sheet</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Plan</a:t>
              </a:r>
            </a:p>
          </p:txBody>
        </p:sp>
        <p:sp>
          <p:nvSpPr>
            <p:cNvPr id="71" name="TextBox 29">
              <a:extLst>
                <a:ext uri="{FF2B5EF4-FFF2-40B4-BE49-F238E27FC236}">
                  <a16:creationId xmlns:a16="http://schemas.microsoft.com/office/drawing/2014/main" xmlns="" id="{2591DEE7-16C9-41F4-9D5E-ADD3F688DD1B}"/>
                </a:ext>
              </a:extLst>
            </p:cNvPr>
            <p:cNvSpPr txBox="1"/>
            <p:nvPr/>
          </p:nvSpPr>
          <p:spPr>
            <a:xfrm>
              <a:off x="5397099" y="3063377"/>
              <a:ext cx="1020472" cy="830997"/>
            </a:xfrm>
            <a:prstGeom prst="rect">
              <a:avLst/>
            </a:prstGeom>
            <a:noFill/>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Profit /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Loss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Statement</a:t>
              </a:r>
            </a:p>
          </p:txBody>
        </p:sp>
      </p:grpSp>
      <p:sp>
        <p:nvSpPr>
          <p:cNvPr id="72" name="Subtitle 2">
            <a:extLst>
              <a:ext uri="{FF2B5EF4-FFF2-40B4-BE49-F238E27FC236}">
                <a16:creationId xmlns:a16="http://schemas.microsoft.com/office/drawing/2014/main" xmlns="" id="{A00ABA79-0538-415D-BDA8-FAD3B3DDFC56}"/>
              </a:ext>
            </a:extLst>
          </p:cNvPr>
          <p:cNvSpPr txBox="1">
            <a:spLocks/>
          </p:cNvSpPr>
          <p:nvPr/>
        </p:nvSpPr>
        <p:spPr>
          <a:xfrm>
            <a:off x="4135974" y="2487827"/>
            <a:ext cx="2874076" cy="13211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US" sz="2000" dirty="0">
                <a:solidFill>
                  <a:srgbClr val="245473"/>
                </a:solidFill>
                <a:latin typeface="+mj-lt"/>
                <a:ea typeface="Lato Light" panose="020F0502020204030203" pitchFamily="34" charset="0"/>
                <a:cs typeface="Mukta ExtraLight" panose="020B0000000000000000" pitchFamily="34" charset="77"/>
              </a:rPr>
              <a:t>Income</a:t>
            </a:r>
            <a:endParaRPr lang="en-US" sz="3200" dirty="0">
              <a:solidFill>
                <a:srgbClr val="245473"/>
              </a:solidFill>
            </a:endParaRPr>
          </a:p>
          <a:p>
            <a:pPr marL="171450" indent="-171450" algn="l">
              <a:lnSpc>
                <a:spcPct val="100000"/>
              </a:lnSpc>
              <a:buFont typeface="Arial" panose="020B0604020202020204" pitchFamily="34" charset="0"/>
              <a:buChar char="•"/>
            </a:pPr>
            <a:r>
              <a:rPr lang="en-US" sz="2000" dirty="0">
                <a:solidFill>
                  <a:srgbClr val="245473"/>
                </a:solidFill>
                <a:latin typeface="+mj-lt"/>
                <a:ea typeface="Lato Light" panose="020F0502020204030203" pitchFamily="34" charset="0"/>
                <a:cs typeface="Mukta ExtraLight" panose="020B0000000000000000" pitchFamily="34" charset="77"/>
              </a:rPr>
              <a:t>Expenses</a:t>
            </a:r>
          </a:p>
          <a:p>
            <a:pPr algn="l">
              <a:lnSpc>
                <a:spcPct val="100000"/>
              </a:lnSpc>
            </a:pPr>
            <a:r>
              <a:rPr lang="en-US" sz="18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Goal: Periodic profit determination</a:t>
            </a:r>
            <a:endParaRPr lang="en-US" b="1" dirty="0">
              <a:solidFill>
                <a:srgbClr val="F95C2C"/>
              </a:solidFill>
              <a:latin typeface="+mj-lt"/>
              <a:ea typeface="Lato Light" panose="020F0502020204030203" pitchFamily="34" charset="0"/>
              <a:cs typeface="Mukta ExtraLight" panose="020B0000000000000000" pitchFamily="34" charset="77"/>
            </a:endParaRPr>
          </a:p>
        </p:txBody>
      </p:sp>
      <p:sp>
        <p:nvSpPr>
          <p:cNvPr id="73" name="TextBox 31">
            <a:extLst>
              <a:ext uri="{FF2B5EF4-FFF2-40B4-BE49-F238E27FC236}">
                <a16:creationId xmlns:a16="http://schemas.microsoft.com/office/drawing/2014/main" xmlns="" id="{5083A07E-8B8D-4BBF-BB11-6FC6C46F34A9}"/>
              </a:ext>
            </a:extLst>
          </p:cNvPr>
          <p:cNvSpPr txBox="1"/>
          <p:nvPr/>
        </p:nvSpPr>
        <p:spPr>
          <a:xfrm>
            <a:off x="4056139" y="2038363"/>
            <a:ext cx="2487027" cy="400110"/>
          </a:xfrm>
          <a:prstGeom prst="rect">
            <a:avLst/>
          </a:prstGeom>
          <a:noFill/>
        </p:spPr>
        <p:txBody>
          <a:bodyPr wrap="none" lIns="91440" tIns="45720" rIns="91440" bIns="45720" rtlCol="0" anchor="t" anchorCtr="0">
            <a:spAutoFit/>
          </a:bodyPr>
          <a:lstStyle/>
          <a:p>
            <a:r>
              <a:rPr lang="en-US" sz="2000" b="1" dirty="0">
                <a:solidFill>
                  <a:schemeClr val="accent1"/>
                </a:solidFill>
                <a:latin typeface="+mj-lt"/>
                <a:ea typeface="League Spartan" charset="0"/>
                <a:cs typeface="Poppins" pitchFamily="2" charset="77"/>
              </a:rPr>
              <a:t>Profit / Loss Statement</a:t>
            </a:r>
          </a:p>
        </p:txBody>
      </p:sp>
      <p:sp>
        <p:nvSpPr>
          <p:cNvPr id="74" name="Subtitle 2">
            <a:extLst>
              <a:ext uri="{FF2B5EF4-FFF2-40B4-BE49-F238E27FC236}">
                <a16:creationId xmlns:a16="http://schemas.microsoft.com/office/drawing/2014/main" xmlns="" id="{9030C19A-A471-40C6-8190-09ED32A0EC9B}"/>
              </a:ext>
            </a:extLst>
          </p:cNvPr>
          <p:cNvSpPr txBox="1">
            <a:spLocks/>
          </p:cNvSpPr>
          <p:nvPr/>
        </p:nvSpPr>
        <p:spPr>
          <a:xfrm>
            <a:off x="9212527" y="2766811"/>
            <a:ext cx="2550437" cy="197362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US" sz="1800" dirty="0">
                <a:solidFill>
                  <a:srgbClr val="245473"/>
                </a:solidFill>
                <a:latin typeface="+mj-lt"/>
                <a:ea typeface="Lato Light" panose="020F0502020204030203" pitchFamily="34" charset="0"/>
                <a:cs typeface="Mukta ExtraLight" panose="020B0000000000000000" pitchFamily="34" charset="77"/>
              </a:rPr>
              <a:t>Cash In</a:t>
            </a:r>
            <a:endParaRPr lang="en-US" sz="2800" dirty="0">
              <a:solidFill>
                <a:srgbClr val="245473"/>
              </a:solidFill>
            </a:endParaRPr>
          </a:p>
          <a:p>
            <a:pPr marL="171450" indent="-171450" algn="l">
              <a:lnSpc>
                <a:spcPct val="100000"/>
              </a:lnSpc>
              <a:buFont typeface="Arial" panose="020B0604020202020204" pitchFamily="34" charset="0"/>
              <a:buChar char="•"/>
            </a:pPr>
            <a:r>
              <a:rPr lang="en-US" sz="1800" dirty="0">
                <a:solidFill>
                  <a:srgbClr val="245473"/>
                </a:solidFill>
                <a:latin typeface="+mj-lt"/>
                <a:ea typeface="Lato Light" panose="020F0502020204030203" pitchFamily="34" charset="0"/>
                <a:cs typeface="Mukta ExtraLight" panose="020B0000000000000000" pitchFamily="34" charset="77"/>
              </a:rPr>
              <a:t>Cash Out</a:t>
            </a:r>
          </a:p>
          <a:p>
            <a:pPr marL="171450" indent="-171450" algn="l">
              <a:lnSpc>
                <a:spcPct val="100000"/>
              </a:lnSpc>
              <a:buFont typeface="Wingdings" panose="05000000000000000000" pitchFamily="2" charset="2"/>
              <a:buChar char="à"/>
            </a:pPr>
            <a:r>
              <a:rPr lang="en-US" sz="16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Goal: Presentation of all payment transaction affecting liquidity</a:t>
            </a:r>
            <a:endParaRPr lang="en-US" sz="1600" b="1" dirty="0">
              <a:solidFill>
                <a:srgbClr val="F95C2C"/>
              </a:solidFill>
              <a:latin typeface="+mj-lt"/>
              <a:ea typeface="Lato Light" panose="020F0502020204030203" pitchFamily="34" charset="0"/>
              <a:cs typeface="Mukta ExtraLight" panose="020B0000000000000000" pitchFamily="34" charset="77"/>
            </a:endParaRPr>
          </a:p>
          <a:p>
            <a:pPr marL="171450" indent="-171450" algn="l">
              <a:lnSpc>
                <a:spcPct val="100000"/>
              </a:lnSpc>
              <a:buFont typeface="Wingdings" panose="05000000000000000000" pitchFamily="2" charset="2"/>
              <a:buChar char="à"/>
            </a:pPr>
            <a:r>
              <a:rPr lang="en-US" sz="16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Goal: Detection of future liquidity bottlenecks</a:t>
            </a:r>
            <a:endParaRPr lang="en-US" sz="1600" b="1" dirty="0">
              <a:solidFill>
                <a:srgbClr val="F95C2C"/>
              </a:solidFill>
              <a:latin typeface="+mj-lt"/>
              <a:ea typeface="Lato Light" panose="020F0502020204030203" pitchFamily="34" charset="0"/>
              <a:cs typeface="Mukta ExtraLight" panose="020B0000000000000000" pitchFamily="34" charset="77"/>
            </a:endParaRPr>
          </a:p>
        </p:txBody>
      </p:sp>
      <p:sp>
        <p:nvSpPr>
          <p:cNvPr id="75" name="TextBox 33">
            <a:extLst>
              <a:ext uri="{FF2B5EF4-FFF2-40B4-BE49-F238E27FC236}">
                <a16:creationId xmlns:a16="http://schemas.microsoft.com/office/drawing/2014/main" xmlns="" id="{2E5CFBC4-6391-4373-99CC-B63A99322B7C}"/>
              </a:ext>
            </a:extLst>
          </p:cNvPr>
          <p:cNvSpPr txBox="1"/>
          <p:nvPr/>
        </p:nvSpPr>
        <p:spPr>
          <a:xfrm>
            <a:off x="9158275" y="2369998"/>
            <a:ext cx="1539204" cy="400110"/>
          </a:xfrm>
          <a:prstGeom prst="rect">
            <a:avLst/>
          </a:prstGeom>
          <a:noFill/>
        </p:spPr>
        <p:txBody>
          <a:bodyPr wrap="none" rtlCol="0" anchor="t" anchorCtr="0">
            <a:spAutoFit/>
          </a:bodyPr>
          <a:lstStyle/>
          <a:p>
            <a:r>
              <a:rPr lang="en-US" sz="2000" b="1" dirty="0">
                <a:solidFill>
                  <a:schemeClr val="accent2"/>
                </a:solidFill>
                <a:latin typeface="+mj-lt"/>
                <a:ea typeface="League Spartan" charset="0"/>
                <a:cs typeface="Poppins" pitchFamily="2" charset="77"/>
              </a:rPr>
              <a:t>Liquidity Plan</a:t>
            </a:r>
          </a:p>
        </p:txBody>
      </p:sp>
      <p:sp>
        <p:nvSpPr>
          <p:cNvPr id="76" name="Subtitle 2">
            <a:extLst>
              <a:ext uri="{FF2B5EF4-FFF2-40B4-BE49-F238E27FC236}">
                <a16:creationId xmlns:a16="http://schemas.microsoft.com/office/drawing/2014/main" xmlns="" id="{1A99DFFC-7E0D-4A06-B8C7-C32F9E0DCBD0}"/>
              </a:ext>
            </a:extLst>
          </p:cNvPr>
          <p:cNvSpPr txBox="1">
            <a:spLocks/>
          </p:cNvSpPr>
          <p:nvPr/>
        </p:nvSpPr>
        <p:spPr>
          <a:xfrm>
            <a:off x="3921410" y="4971608"/>
            <a:ext cx="2740143" cy="184435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US" sz="2000" dirty="0">
                <a:solidFill>
                  <a:srgbClr val="245473"/>
                </a:solidFill>
                <a:latin typeface="+mj-lt"/>
                <a:ea typeface="Lato Light" panose="020F0502020204030203" pitchFamily="34" charset="0"/>
                <a:cs typeface="Mukta ExtraLight" panose="020B0000000000000000" pitchFamily="34" charset="77"/>
              </a:rPr>
              <a:t>Assets</a:t>
            </a:r>
            <a:endParaRPr lang="en-US" sz="2000" dirty="0">
              <a:solidFill>
                <a:srgbClr val="245473"/>
              </a:solidFill>
            </a:endParaRPr>
          </a:p>
          <a:p>
            <a:pPr marL="171450" indent="-171450" algn="l">
              <a:lnSpc>
                <a:spcPct val="100000"/>
              </a:lnSpc>
              <a:buFont typeface="Arial" panose="020B0604020202020204" pitchFamily="34" charset="0"/>
              <a:buChar char="•"/>
            </a:pPr>
            <a:r>
              <a:rPr lang="en-US" sz="2000" dirty="0">
                <a:solidFill>
                  <a:srgbClr val="245473"/>
                </a:solidFill>
                <a:latin typeface="+mj-lt"/>
                <a:ea typeface="Lato Light" panose="020F0502020204030203" pitchFamily="34" charset="0"/>
                <a:cs typeface="Mukta ExtraLight" panose="020B0000000000000000" pitchFamily="34" charset="77"/>
              </a:rPr>
              <a:t>Debts</a:t>
            </a:r>
          </a:p>
          <a:p>
            <a:pPr algn="l">
              <a:lnSpc>
                <a:spcPct val="100000"/>
              </a:lnSpc>
            </a:pPr>
            <a:r>
              <a:rPr lang="en-US" sz="17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Goal: </a:t>
            </a:r>
            <a:r>
              <a:rPr lang="en-US" sz="1700" b="1" dirty="0">
                <a:solidFill>
                  <a:srgbClr val="F95C2C"/>
                </a:solidFill>
                <a:latin typeface="+mj-lt"/>
                <a:ea typeface="Lato Light" panose="020F0502020204030203" pitchFamily="34" charset="0"/>
                <a:cs typeface="Mukta ExtraLight" panose="020B0000000000000000" pitchFamily="34" charset="77"/>
              </a:rPr>
              <a:t>Presentation </a:t>
            </a:r>
            <a:br>
              <a:rPr lang="en-US" sz="1700" b="1" dirty="0">
                <a:solidFill>
                  <a:srgbClr val="F95C2C"/>
                </a:solidFill>
                <a:latin typeface="+mj-lt"/>
                <a:ea typeface="Lato Light" panose="020F0502020204030203" pitchFamily="34" charset="0"/>
                <a:cs typeface="Mukta ExtraLight" panose="020B0000000000000000" pitchFamily="34" charset="77"/>
              </a:rPr>
            </a:br>
            <a:r>
              <a:rPr lang="en-US" sz="1700" b="1" dirty="0">
                <a:solidFill>
                  <a:srgbClr val="F95C2C"/>
                </a:solidFill>
                <a:latin typeface="+mj-lt"/>
                <a:ea typeface="Lato Light" panose="020F0502020204030203" pitchFamily="34" charset="0"/>
                <a:cs typeface="Mukta ExtraLight" panose="020B0000000000000000" pitchFamily="34" charset="77"/>
              </a:rPr>
              <a:t>of the source and </a:t>
            </a:r>
            <a:br>
              <a:rPr lang="en-US" sz="1700" b="1" dirty="0">
                <a:solidFill>
                  <a:srgbClr val="F95C2C"/>
                </a:solidFill>
                <a:latin typeface="+mj-lt"/>
                <a:ea typeface="Lato Light" panose="020F0502020204030203" pitchFamily="34" charset="0"/>
                <a:cs typeface="Mukta ExtraLight" panose="020B0000000000000000" pitchFamily="34" charset="77"/>
              </a:rPr>
            </a:br>
            <a:r>
              <a:rPr lang="en-US" sz="1700" b="1" dirty="0">
                <a:solidFill>
                  <a:srgbClr val="F95C2C"/>
                </a:solidFill>
                <a:latin typeface="+mj-lt"/>
                <a:ea typeface="Lato Light" panose="020F0502020204030203" pitchFamily="34" charset="0"/>
                <a:cs typeface="Mukta ExtraLight" panose="020B0000000000000000" pitchFamily="34" charset="77"/>
              </a:rPr>
              <a:t>application  of funds</a:t>
            </a:r>
          </a:p>
          <a:p>
            <a:pPr marL="171450" indent="-171450" algn="l">
              <a:lnSpc>
                <a:spcPct val="100000"/>
              </a:lnSpc>
              <a:buFont typeface="Wingdings" panose="05000000000000000000" pitchFamily="2" charset="2"/>
              <a:buChar char="à"/>
            </a:pPr>
            <a:endParaRPr lang="en-US" sz="1600" dirty="0">
              <a:solidFill>
                <a:schemeClr val="tx1"/>
              </a:solidFill>
              <a:latin typeface="+mj-lt"/>
              <a:ea typeface="Lato Light" panose="020F0502020204030203" pitchFamily="34" charset="0"/>
              <a:cs typeface="Mukta ExtraLight" panose="020B0000000000000000" pitchFamily="34" charset="77"/>
            </a:endParaRPr>
          </a:p>
        </p:txBody>
      </p:sp>
      <p:sp>
        <p:nvSpPr>
          <p:cNvPr id="77" name="TextBox 35">
            <a:extLst>
              <a:ext uri="{FF2B5EF4-FFF2-40B4-BE49-F238E27FC236}">
                <a16:creationId xmlns:a16="http://schemas.microsoft.com/office/drawing/2014/main" xmlns="" id="{F4137F18-C25E-4562-8961-677540C1F9AA}"/>
              </a:ext>
            </a:extLst>
          </p:cNvPr>
          <p:cNvSpPr txBox="1"/>
          <p:nvPr/>
        </p:nvSpPr>
        <p:spPr>
          <a:xfrm>
            <a:off x="3611501" y="4565002"/>
            <a:ext cx="2541401" cy="400110"/>
          </a:xfrm>
          <a:prstGeom prst="rect">
            <a:avLst/>
          </a:prstGeom>
          <a:noFill/>
        </p:spPr>
        <p:txBody>
          <a:bodyPr wrap="none" lIns="91440" tIns="45720" rIns="91440" bIns="45720" rtlCol="0" anchor="t" anchorCtr="0">
            <a:spAutoFit/>
          </a:bodyPr>
          <a:lstStyle/>
          <a:p>
            <a:r>
              <a:rPr lang="en-US" sz="2000" b="1" dirty="0">
                <a:solidFill>
                  <a:schemeClr val="accent3"/>
                </a:solidFill>
                <a:latin typeface="+mj-lt"/>
                <a:ea typeface="League Spartan" charset="0"/>
                <a:cs typeface="Poppins" pitchFamily="2" charset="77"/>
              </a:rPr>
              <a:t>Balance Sheet Planning</a:t>
            </a:r>
          </a:p>
        </p:txBody>
      </p:sp>
    </p:spTree>
    <p:extLst>
      <p:ext uri="{BB962C8B-B14F-4D97-AF65-F5344CB8AC3E}">
        <p14:creationId xmlns:p14="http://schemas.microsoft.com/office/powerpoint/2010/main" val="19504638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83BD508-728B-4C8B-9785-A9E72963752E}"/>
              </a:ext>
            </a:extLst>
          </p:cNvPr>
          <p:cNvSpPr>
            <a:spLocks noGrp="1"/>
          </p:cNvSpPr>
          <p:nvPr>
            <p:ph type="body" sz="quarter" idx="11"/>
          </p:nvPr>
        </p:nvSpPr>
        <p:spPr>
          <a:xfrm>
            <a:off x="461755" y="3274356"/>
            <a:ext cx="9821959" cy="1582271"/>
          </a:xfrm>
        </p:spPr>
        <p:txBody>
          <a:bodyPr/>
          <a:lstStyle/>
          <a:p>
            <a:r>
              <a:rPr lang="en-GB" dirty="0"/>
              <a:t>Reducing Crisis Impact -</a:t>
            </a:r>
          </a:p>
          <a:p>
            <a:r>
              <a:rPr lang="en-GB" dirty="0"/>
              <a:t>Measures including Basic Tool Box to Identify and Mitigate Crisis</a:t>
            </a:r>
          </a:p>
          <a:p>
            <a:endParaRPr lang="en-GB" dirty="0"/>
          </a:p>
        </p:txBody>
      </p:sp>
    </p:spTree>
    <p:extLst>
      <p:ext uri="{BB962C8B-B14F-4D97-AF65-F5344CB8AC3E}">
        <p14:creationId xmlns:p14="http://schemas.microsoft.com/office/powerpoint/2010/main" val="57700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12563"/>
            <a:ext cx="8852375" cy="697353"/>
          </a:xfrm>
        </p:spPr>
        <p:txBody>
          <a:bodyPr>
            <a:normAutofit/>
          </a:bodyPr>
          <a:lstStyle/>
          <a:p>
            <a:r>
              <a:rPr lang="en-GB" dirty="0"/>
              <a:t>Basic Tool Box to Identify and Mitigate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2063" y="1897573"/>
            <a:ext cx="2724999" cy="456052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Financial accounting / controlling must ensure that the figures are suitable for creating transparency in the context of information gathering</a:t>
            </a:r>
            <a:endParaRPr lang="en-US" dirty="0">
              <a:solidFill>
                <a:srgbClr val="245473"/>
              </a:solidFill>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ransparency through internal as well as external open communication (especially external financiers)</a:t>
            </a:r>
          </a:p>
        </p:txBody>
      </p:sp>
      <p:sp>
        <p:nvSpPr>
          <p:cNvPr id="24" name="Freeform 6">
            <a:extLst>
              <a:ext uri="{FF2B5EF4-FFF2-40B4-BE49-F238E27FC236}">
                <a16:creationId xmlns:a16="http://schemas.microsoft.com/office/drawing/2014/main" xmlns="" id="{758672DC-06CC-40F2-BBCB-D31FBFB25582}"/>
              </a:ext>
            </a:extLst>
          </p:cNvPr>
          <p:cNvSpPr>
            <a:spLocks noChangeArrowheads="1"/>
          </p:cNvSpPr>
          <p:nvPr/>
        </p:nvSpPr>
        <p:spPr bwMode="auto">
          <a:xfrm>
            <a:off x="4700110" y="4185941"/>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1"/>
          </a:solidFill>
          <a:ln>
            <a:noFill/>
          </a:ln>
          <a:effectLst/>
        </p:spPr>
        <p:txBody>
          <a:bodyPr wrap="none" anchor="ctr"/>
          <a:lstStyle/>
          <a:p>
            <a:endParaRPr lang="en-GB" sz="2450" dirty="0">
              <a:latin typeface="+mj-lt"/>
            </a:endParaRPr>
          </a:p>
        </p:txBody>
      </p:sp>
      <p:sp>
        <p:nvSpPr>
          <p:cNvPr id="25" name="Freeform 7">
            <a:extLst>
              <a:ext uri="{FF2B5EF4-FFF2-40B4-BE49-F238E27FC236}">
                <a16:creationId xmlns:a16="http://schemas.microsoft.com/office/drawing/2014/main" xmlns="" id="{DE3A98B4-27A6-4C98-8349-AC0BA8A9B6E2}"/>
              </a:ext>
            </a:extLst>
          </p:cNvPr>
          <p:cNvSpPr>
            <a:spLocks noChangeArrowheads="1"/>
          </p:cNvSpPr>
          <p:nvPr/>
        </p:nvSpPr>
        <p:spPr bwMode="auto">
          <a:xfrm>
            <a:off x="6358119" y="3834710"/>
            <a:ext cx="212229" cy="210987"/>
          </a:xfrm>
          <a:custGeom>
            <a:avLst/>
            <a:gdLst>
              <a:gd name="T0" fmla="*/ 0 w 755"/>
              <a:gd name="T1" fmla="*/ 750 h 751"/>
              <a:gd name="T2" fmla="*/ 754 w 755"/>
              <a:gd name="T3" fmla="*/ 750 h 751"/>
              <a:gd name="T4" fmla="*/ 754 w 755"/>
              <a:gd name="T5" fmla="*/ 0 h 751"/>
              <a:gd name="T6" fmla="*/ 750 w 755"/>
              <a:gd name="T7" fmla="*/ 0 h 751"/>
              <a:gd name="T8" fmla="*/ 0 w 755"/>
              <a:gd name="T9" fmla="*/ 750 h 751"/>
            </a:gdLst>
            <a:ahLst/>
            <a:cxnLst>
              <a:cxn ang="0">
                <a:pos x="T0" y="T1"/>
              </a:cxn>
              <a:cxn ang="0">
                <a:pos x="T2" y="T3"/>
              </a:cxn>
              <a:cxn ang="0">
                <a:pos x="T4" y="T5"/>
              </a:cxn>
              <a:cxn ang="0">
                <a:pos x="T6" y="T7"/>
              </a:cxn>
              <a:cxn ang="0">
                <a:pos x="T8" y="T9"/>
              </a:cxn>
            </a:cxnLst>
            <a:rect l="0" t="0" r="r" b="b"/>
            <a:pathLst>
              <a:path w="755" h="751">
                <a:moveTo>
                  <a:pt x="0" y="750"/>
                </a:moveTo>
                <a:lnTo>
                  <a:pt x="754" y="750"/>
                </a:lnTo>
                <a:lnTo>
                  <a:pt x="754" y="0"/>
                </a:lnTo>
                <a:lnTo>
                  <a:pt x="750" y="0"/>
                </a:lnTo>
                <a:lnTo>
                  <a:pt x="0" y="750"/>
                </a:lnTo>
              </a:path>
            </a:pathLst>
          </a:custGeom>
          <a:solidFill>
            <a:schemeClr val="accent2"/>
          </a:solidFill>
          <a:ln>
            <a:noFill/>
          </a:ln>
          <a:effectLst/>
        </p:spPr>
        <p:txBody>
          <a:bodyPr wrap="none" anchor="ctr"/>
          <a:lstStyle/>
          <a:p>
            <a:endParaRPr lang="en-GB" sz="2450" dirty="0">
              <a:latin typeface="+mj-lt"/>
            </a:endParaRPr>
          </a:p>
        </p:txBody>
      </p:sp>
      <p:sp>
        <p:nvSpPr>
          <p:cNvPr id="26" name="Freeform 8">
            <a:extLst>
              <a:ext uri="{FF2B5EF4-FFF2-40B4-BE49-F238E27FC236}">
                <a16:creationId xmlns:a16="http://schemas.microsoft.com/office/drawing/2014/main" xmlns="" id="{EFC6ECC0-24DA-40AF-8AAD-CD9378E87F53}"/>
              </a:ext>
            </a:extLst>
          </p:cNvPr>
          <p:cNvSpPr>
            <a:spLocks noChangeArrowheads="1"/>
          </p:cNvSpPr>
          <p:nvPr/>
        </p:nvSpPr>
        <p:spPr bwMode="auto">
          <a:xfrm>
            <a:off x="7976118" y="3508922"/>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3"/>
          </a:solidFill>
          <a:ln>
            <a:noFill/>
          </a:ln>
          <a:effectLst/>
        </p:spPr>
        <p:txBody>
          <a:bodyPr wrap="none" anchor="ctr"/>
          <a:lstStyle/>
          <a:p>
            <a:endParaRPr lang="en-GB" sz="2450" dirty="0">
              <a:latin typeface="+mj-lt"/>
            </a:endParaRPr>
          </a:p>
        </p:txBody>
      </p:sp>
      <p:sp>
        <p:nvSpPr>
          <p:cNvPr id="27" name="Freeform 77">
            <a:extLst>
              <a:ext uri="{FF2B5EF4-FFF2-40B4-BE49-F238E27FC236}">
                <a16:creationId xmlns:a16="http://schemas.microsoft.com/office/drawing/2014/main" xmlns="" id="{8B2ACDAA-C243-4037-8E3E-9590B3A7EA08}"/>
              </a:ext>
            </a:extLst>
          </p:cNvPr>
          <p:cNvSpPr>
            <a:spLocks noChangeArrowheads="1"/>
          </p:cNvSpPr>
          <p:nvPr/>
        </p:nvSpPr>
        <p:spPr bwMode="auto">
          <a:xfrm>
            <a:off x="5463413" y="2800215"/>
            <a:ext cx="232808" cy="147772"/>
          </a:xfrm>
          <a:custGeom>
            <a:avLst/>
            <a:gdLst>
              <a:gd name="connsiteX0" fmla="*/ 408053 w 620659"/>
              <a:gd name="connsiteY0" fmla="*/ 0 h 393956"/>
              <a:gd name="connsiteX1" fmla="*/ 403544 w 620659"/>
              <a:gd name="connsiteY1" fmla="*/ 60159 h 393956"/>
              <a:gd name="connsiteX2" fmla="*/ 290070 w 620659"/>
              <a:gd name="connsiteY2" fmla="*/ 141373 h 393956"/>
              <a:gd name="connsiteX3" fmla="*/ 369751 w 620659"/>
              <a:gd name="connsiteY3" fmla="*/ 152477 h 393956"/>
              <a:gd name="connsiteX4" fmla="*/ 372034 w 620659"/>
              <a:gd name="connsiteY4" fmla="*/ 152509 h 393956"/>
              <a:gd name="connsiteX5" fmla="*/ 571766 w 620659"/>
              <a:gd name="connsiteY5" fmla="*/ 136109 h 393956"/>
              <a:gd name="connsiteX6" fmla="*/ 577036 w 620659"/>
              <a:gd name="connsiteY6" fmla="*/ 192508 h 393956"/>
              <a:gd name="connsiteX7" fmla="*/ 383978 w 620659"/>
              <a:gd name="connsiteY7" fmla="*/ 208361 h 393956"/>
              <a:gd name="connsiteX8" fmla="*/ 384005 w 620659"/>
              <a:gd name="connsiteY8" fmla="*/ 209417 h 393956"/>
              <a:gd name="connsiteX9" fmla="*/ 383837 w 620659"/>
              <a:gd name="connsiteY9" fmla="*/ 215064 h 393956"/>
              <a:gd name="connsiteX10" fmla="*/ 590715 w 620659"/>
              <a:gd name="connsiteY10" fmla="*/ 205889 h 393956"/>
              <a:gd name="connsiteX11" fmla="*/ 593716 w 620659"/>
              <a:gd name="connsiteY11" fmla="*/ 262672 h 393956"/>
              <a:gd name="connsiteX12" fmla="*/ 382070 w 620659"/>
              <a:gd name="connsiteY12" fmla="*/ 272745 h 393956"/>
              <a:gd name="connsiteX13" fmla="*/ 381393 w 620659"/>
              <a:gd name="connsiteY13" fmla="*/ 277934 h 393956"/>
              <a:gd name="connsiteX14" fmla="*/ 580287 w 620659"/>
              <a:gd name="connsiteY14" fmla="*/ 277934 h 393956"/>
              <a:gd name="connsiteX15" fmla="*/ 580287 w 620659"/>
              <a:gd name="connsiteY15" fmla="*/ 333444 h 393956"/>
              <a:gd name="connsiteX16" fmla="*/ 374150 w 620659"/>
              <a:gd name="connsiteY16" fmla="*/ 333444 h 393956"/>
              <a:gd name="connsiteX17" fmla="*/ 374048 w 620659"/>
              <a:gd name="connsiteY17" fmla="*/ 334223 h 393956"/>
              <a:gd name="connsiteX18" fmla="*/ 372905 w 620659"/>
              <a:gd name="connsiteY18" fmla="*/ 337820 h 393956"/>
              <a:gd name="connsiteX19" fmla="*/ 527826 w 620659"/>
              <a:gd name="connsiteY19" fmla="*/ 339683 h 393956"/>
              <a:gd name="connsiteX20" fmla="*/ 527826 w 620659"/>
              <a:gd name="connsiteY20" fmla="*/ 385665 h 393956"/>
              <a:gd name="connsiteX21" fmla="*/ 358134 w 620659"/>
              <a:gd name="connsiteY21" fmla="*/ 384306 h 393956"/>
              <a:gd name="connsiteX22" fmla="*/ 356952 w 620659"/>
              <a:gd name="connsiteY22" fmla="*/ 388026 h 393956"/>
              <a:gd name="connsiteX23" fmla="*/ 130757 w 620659"/>
              <a:gd name="connsiteY23" fmla="*/ 360954 h 393956"/>
              <a:gd name="connsiteX24" fmla="*/ 0 w 620659"/>
              <a:gd name="connsiteY24" fmla="*/ 360954 h 393956"/>
              <a:gd name="connsiteX25" fmla="*/ 12775 w 620659"/>
              <a:gd name="connsiteY25" fmla="*/ 170701 h 393956"/>
              <a:gd name="connsiteX26" fmla="*/ 136017 w 620659"/>
              <a:gd name="connsiteY26" fmla="*/ 157917 h 393956"/>
              <a:gd name="connsiteX27" fmla="*/ 350189 w 620659"/>
              <a:gd name="connsiteY27" fmla="*/ 30079 h 393956"/>
              <a:gd name="connsiteX28" fmla="*/ 408053 w 620659"/>
              <a:gd name="connsiteY28" fmla="*/ 0 h 39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0659" h="393956">
                <a:moveTo>
                  <a:pt x="408053" y="0"/>
                </a:moveTo>
                <a:cubicBezTo>
                  <a:pt x="408053" y="0"/>
                  <a:pt x="442621" y="27823"/>
                  <a:pt x="403544" y="60159"/>
                </a:cubicBezTo>
                <a:cubicBezTo>
                  <a:pt x="365970" y="93246"/>
                  <a:pt x="267526" y="120318"/>
                  <a:pt x="290070" y="141373"/>
                </a:cubicBezTo>
                <a:cubicBezTo>
                  <a:pt x="299088" y="149833"/>
                  <a:pt x="346573" y="151948"/>
                  <a:pt x="369751" y="152477"/>
                </a:cubicBezTo>
                <a:lnTo>
                  <a:pt x="372034" y="152509"/>
                </a:lnTo>
                <a:lnTo>
                  <a:pt x="571766" y="136109"/>
                </a:lnTo>
                <a:cubicBezTo>
                  <a:pt x="609403" y="132349"/>
                  <a:pt x="614672" y="189500"/>
                  <a:pt x="577036" y="192508"/>
                </a:cubicBezTo>
                <a:lnTo>
                  <a:pt x="383978" y="208361"/>
                </a:lnTo>
                <a:lnTo>
                  <a:pt x="384005" y="209417"/>
                </a:lnTo>
                <a:lnTo>
                  <a:pt x="383837" y="215064"/>
                </a:lnTo>
                <a:lnTo>
                  <a:pt x="590715" y="205889"/>
                </a:lnTo>
                <a:cubicBezTo>
                  <a:pt x="628970" y="205142"/>
                  <a:pt x="631220" y="261178"/>
                  <a:pt x="593716" y="262672"/>
                </a:cubicBezTo>
                <a:lnTo>
                  <a:pt x="382070" y="272745"/>
                </a:lnTo>
                <a:lnTo>
                  <a:pt x="381393" y="277934"/>
                </a:lnTo>
                <a:lnTo>
                  <a:pt x="580287" y="277934"/>
                </a:lnTo>
                <a:cubicBezTo>
                  <a:pt x="617981" y="277934"/>
                  <a:pt x="617981" y="333444"/>
                  <a:pt x="580287" y="333444"/>
                </a:cubicBezTo>
                <a:lnTo>
                  <a:pt x="374150" y="333444"/>
                </a:lnTo>
                <a:lnTo>
                  <a:pt x="374048" y="334223"/>
                </a:lnTo>
                <a:lnTo>
                  <a:pt x="372905" y="337820"/>
                </a:lnTo>
                <a:lnTo>
                  <a:pt x="527826" y="339683"/>
                </a:lnTo>
                <a:cubicBezTo>
                  <a:pt x="558432" y="339683"/>
                  <a:pt x="557685" y="386395"/>
                  <a:pt x="527826" y="385665"/>
                </a:cubicBezTo>
                <a:lnTo>
                  <a:pt x="358134" y="384306"/>
                </a:lnTo>
                <a:lnTo>
                  <a:pt x="356952" y="388026"/>
                </a:lnTo>
                <a:cubicBezTo>
                  <a:pt x="356952" y="388026"/>
                  <a:pt x="141278" y="412841"/>
                  <a:pt x="130757" y="360954"/>
                </a:cubicBezTo>
                <a:cubicBezTo>
                  <a:pt x="97692" y="360954"/>
                  <a:pt x="21793" y="360954"/>
                  <a:pt x="0" y="360954"/>
                </a:cubicBezTo>
                <a:lnTo>
                  <a:pt x="12775" y="170701"/>
                </a:lnTo>
                <a:cubicBezTo>
                  <a:pt x="59367" y="166189"/>
                  <a:pt x="99946" y="163181"/>
                  <a:pt x="136017" y="157917"/>
                </a:cubicBezTo>
                <a:cubicBezTo>
                  <a:pt x="168331" y="72191"/>
                  <a:pt x="284810" y="64671"/>
                  <a:pt x="350189" y="30079"/>
                </a:cubicBezTo>
                <a:cubicBezTo>
                  <a:pt x="382503" y="14288"/>
                  <a:pt x="408053" y="0"/>
                  <a:pt x="408053" y="0"/>
                </a:cubicBez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0" dirty="0">
              <a:latin typeface="+mj-lt"/>
            </a:endParaRPr>
          </a:p>
        </p:txBody>
      </p:sp>
      <p:sp>
        <p:nvSpPr>
          <p:cNvPr id="28" name="Freeform 15">
            <a:extLst>
              <a:ext uri="{FF2B5EF4-FFF2-40B4-BE49-F238E27FC236}">
                <a16:creationId xmlns:a16="http://schemas.microsoft.com/office/drawing/2014/main" xmlns="" id="{9D99425B-A08D-4CF3-8ADC-A090DAA326BF}"/>
              </a:ext>
            </a:extLst>
          </p:cNvPr>
          <p:cNvSpPr>
            <a:spLocks noChangeArrowheads="1"/>
          </p:cNvSpPr>
          <p:nvPr/>
        </p:nvSpPr>
        <p:spPr bwMode="auto">
          <a:xfrm>
            <a:off x="4999241" y="2609086"/>
            <a:ext cx="522504" cy="451760"/>
          </a:xfrm>
          <a:custGeom>
            <a:avLst/>
            <a:gdLst>
              <a:gd name="T0" fmla="*/ 283 w 1858"/>
              <a:gd name="T1" fmla="*/ 0 h 1605"/>
              <a:gd name="T2" fmla="*/ 753 w 1858"/>
              <a:gd name="T3" fmla="*/ 991 h 1605"/>
              <a:gd name="T4" fmla="*/ 1779 w 1858"/>
              <a:gd name="T5" fmla="*/ 805 h 1605"/>
              <a:gd name="T6" fmla="*/ 1857 w 1858"/>
              <a:gd name="T7" fmla="*/ 1258 h 1605"/>
              <a:gd name="T8" fmla="*/ 461 w 1858"/>
              <a:gd name="T9" fmla="*/ 1604 h 1605"/>
              <a:gd name="T10" fmla="*/ 0 w 1858"/>
              <a:gd name="T11" fmla="*/ 752 h 1605"/>
              <a:gd name="T12" fmla="*/ 283 w 1858"/>
              <a:gd name="T13" fmla="*/ 0 h 1605"/>
            </a:gdLst>
            <a:ahLst/>
            <a:cxnLst>
              <a:cxn ang="0">
                <a:pos x="T0" y="T1"/>
              </a:cxn>
              <a:cxn ang="0">
                <a:pos x="T2" y="T3"/>
              </a:cxn>
              <a:cxn ang="0">
                <a:pos x="T4" y="T5"/>
              </a:cxn>
              <a:cxn ang="0">
                <a:pos x="T6" y="T7"/>
              </a:cxn>
              <a:cxn ang="0">
                <a:pos x="T8" y="T9"/>
              </a:cxn>
              <a:cxn ang="0">
                <a:pos x="T10" y="T11"/>
              </a:cxn>
              <a:cxn ang="0">
                <a:pos x="T12" y="T13"/>
              </a:cxn>
            </a:cxnLst>
            <a:rect l="0" t="0" r="r" b="b"/>
            <a:pathLst>
              <a:path w="1858" h="1605">
                <a:moveTo>
                  <a:pt x="283" y="0"/>
                </a:moveTo>
                <a:lnTo>
                  <a:pt x="753" y="991"/>
                </a:lnTo>
                <a:lnTo>
                  <a:pt x="1779" y="805"/>
                </a:lnTo>
                <a:lnTo>
                  <a:pt x="1857" y="1258"/>
                </a:lnTo>
                <a:lnTo>
                  <a:pt x="461" y="1604"/>
                </a:lnTo>
                <a:lnTo>
                  <a:pt x="0" y="752"/>
                </a:lnTo>
                <a:lnTo>
                  <a:pt x="283" y="0"/>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29" name="Freeform 16">
            <a:extLst>
              <a:ext uri="{FF2B5EF4-FFF2-40B4-BE49-F238E27FC236}">
                <a16:creationId xmlns:a16="http://schemas.microsoft.com/office/drawing/2014/main" xmlns="" id="{DD78D3A7-2700-47F5-B316-017B7C9DBDCE}"/>
              </a:ext>
            </a:extLst>
          </p:cNvPr>
          <p:cNvSpPr>
            <a:spLocks noChangeArrowheads="1"/>
          </p:cNvSpPr>
          <p:nvPr/>
        </p:nvSpPr>
        <p:spPr bwMode="auto">
          <a:xfrm>
            <a:off x="3667541" y="2831243"/>
            <a:ext cx="490235" cy="544842"/>
          </a:xfrm>
          <a:custGeom>
            <a:avLst/>
            <a:gdLst>
              <a:gd name="T0" fmla="*/ 1740 w 1741"/>
              <a:gd name="T1" fmla="*/ 1467 h 1936"/>
              <a:gd name="T2" fmla="*/ 1166 w 1741"/>
              <a:gd name="T3" fmla="*/ 1906 h 1936"/>
              <a:gd name="T4" fmla="*/ 1166 w 1741"/>
              <a:gd name="T5" fmla="*/ 1906 h 1936"/>
              <a:gd name="T6" fmla="*/ 1049 w 1741"/>
              <a:gd name="T7" fmla="*/ 1890 h 1936"/>
              <a:gd name="T8" fmla="*/ 29 w 1741"/>
              <a:gd name="T9" fmla="*/ 557 h 1936"/>
              <a:gd name="T10" fmla="*/ 29 w 1741"/>
              <a:gd name="T11" fmla="*/ 557 h 1936"/>
              <a:gd name="T12" fmla="*/ 45 w 1741"/>
              <a:gd name="T13" fmla="*/ 439 h 1936"/>
              <a:gd name="T14" fmla="*/ 619 w 1741"/>
              <a:gd name="T15" fmla="*/ 0 h 1936"/>
              <a:gd name="T16" fmla="*/ 619 w 1741"/>
              <a:gd name="T17" fmla="*/ 0 h 1936"/>
              <a:gd name="T18" fmla="*/ 603 w 1741"/>
              <a:gd name="T19" fmla="*/ 119 h 1936"/>
              <a:gd name="T20" fmla="*/ 1621 w 1741"/>
              <a:gd name="T21" fmla="*/ 1452 h 1936"/>
              <a:gd name="T22" fmla="*/ 1621 w 1741"/>
              <a:gd name="T23" fmla="*/ 1452 h 1936"/>
              <a:gd name="T24" fmla="*/ 1740 w 1741"/>
              <a:gd name="T25" fmla="*/ 1467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936">
                <a:moveTo>
                  <a:pt x="1740" y="1467"/>
                </a:moveTo>
                <a:lnTo>
                  <a:pt x="1166" y="1906"/>
                </a:lnTo>
                <a:lnTo>
                  <a:pt x="1166" y="1906"/>
                </a:lnTo>
                <a:cubicBezTo>
                  <a:pt x="1130" y="1935"/>
                  <a:pt x="1076" y="1928"/>
                  <a:pt x="1049" y="1890"/>
                </a:cubicBezTo>
                <a:lnTo>
                  <a:pt x="29" y="557"/>
                </a:lnTo>
                <a:lnTo>
                  <a:pt x="29" y="557"/>
                </a:lnTo>
                <a:cubicBezTo>
                  <a:pt x="0" y="520"/>
                  <a:pt x="8" y="468"/>
                  <a:pt x="45" y="439"/>
                </a:cubicBezTo>
                <a:lnTo>
                  <a:pt x="619" y="0"/>
                </a:lnTo>
                <a:lnTo>
                  <a:pt x="619" y="0"/>
                </a:lnTo>
                <a:cubicBezTo>
                  <a:pt x="582" y="29"/>
                  <a:pt x="574" y="82"/>
                  <a:pt x="603" y="119"/>
                </a:cubicBezTo>
                <a:lnTo>
                  <a:pt x="1621" y="1452"/>
                </a:lnTo>
                <a:lnTo>
                  <a:pt x="1621" y="1452"/>
                </a:lnTo>
                <a:cubicBezTo>
                  <a:pt x="1650" y="1489"/>
                  <a:pt x="1703" y="1496"/>
                  <a:pt x="1740" y="1467"/>
                </a:cubicBezTo>
              </a:path>
            </a:pathLst>
          </a:custGeom>
          <a:solidFill>
            <a:srgbClr val="28282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0" name="Freeform 78">
            <a:extLst>
              <a:ext uri="{FF2B5EF4-FFF2-40B4-BE49-F238E27FC236}">
                <a16:creationId xmlns:a16="http://schemas.microsoft.com/office/drawing/2014/main" xmlns="" id="{0A2EBD7C-64B4-4CD4-ADF2-D2E1CDE69CEF}"/>
              </a:ext>
            </a:extLst>
          </p:cNvPr>
          <p:cNvSpPr>
            <a:spLocks noChangeArrowheads="1"/>
          </p:cNvSpPr>
          <p:nvPr/>
        </p:nvSpPr>
        <p:spPr bwMode="auto">
          <a:xfrm>
            <a:off x="3832099" y="2731374"/>
            <a:ext cx="457564" cy="517207"/>
          </a:xfrm>
          <a:custGeom>
            <a:avLst/>
            <a:gdLst>
              <a:gd name="connsiteX0" fmla="*/ 827635 w 1219852"/>
              <a:gd name="connsiteY0" fmla="*/ 347519 h 1378859"/>
              <a:gd name="connsiteX1" fmla="*/ 811843 w 1219852"/>
              <a:gd name="connsiteY1" fmla="*/ 351753 h 1378859"/>
              <a:gd name="connsiteX2" fmla="*/ 736429 w 1219852"/>
              <a:gd name="connsiteY2" fmla="*/ 409315 h 1378859"/>
              <a:gd name="connsiteX3" fmla="*/ 914342 w 1219852"/>
              <a:gd name="connsiteY3" fmla="*/ 642867 h 1378859"/>
              <a:gd name="connsiteX4" fmla="*/ 990065 w 1219852"/>
              <a:gd name="connsiteY4" fmla="*/ 585069 h 1378859"/>
              <a:gd name="connsiteX5" fmla="*/ 994577 w 1219852"/>
              <a:gd name="connsiteY5" fmla="*/ 554964 h 1378859"/>
              <a:gd name="connsiteX6" fmla="*/ 841171 w 1219852"/>
              <a:gd name="connsiteY6" fmla="*/ 356269 h 1378859"/>
              <a:gd name="connsiteX7" fmla="*/ 827635 w 1219852"/>
              <a:gd name="connsiteY7" fmla="*/ 347519 h 1378859"/>
              <a:gd name="connsiteX8" fmla="*/ 400856 w 1219852"/>
              <a:gd name="connsiteY8" fmla="*/ 628 h 1378859"/>
              <a:gd name="connsiteX9" fmla="*/ 443392 w 1219852"/>
              <a:gd name="connsiteY9" fmla="*/ 24637 h 1378859"/>
              <a:gd name="connsiteX10" fmla="*/ 693116 w 1219852"/>
              <a:gd name="connsiteY10" fmla="*/ 352458 h 1378859"/>
              <a:gd name="connsiteX11" fmla="*/ 768980 w 1219852"/>
              <a:gd name="connsiteY11" fmla="*/ 294553 h 1378859"/>
              <a:gd name="connsiteX12" fmla="*/ 899074 w 1219852"/>
              <a:gd name="connsiteY12" fmla="*/ 311863 h 1378859"/>
              <a:gd name="connsiteX13" fmla="*/ 1052480 w 1219852"/>
              <a:gd name="connsiteY13" fmla="*/ 511311 h 1378859"/>
              <a:gd name="connsiteX14" fmla="*/ 1034432 w 1219852"/>
              <a:gd name="connsiteY14" fmla="*/ 643022 h 1378859"/>
              <a:gd name="connsiteX15" fmla="*/ 958570 w 1219852"/>
              <a:gd name="connsiteY15" fmla="*/ 700926 h 1378859"/>
              <a:gd name="connsiteX16" fmla="*/ 1206410 w 1219852"/>
              <a:gd name="connsiteY16" fmla="*/ 1026273 h 1378859"/>
              <a:gd name="connsiteX17" fmla="*/ 1195167 w 1219852"/>
              <a:gd name="connsiteY17" fmla="*/ 1113307 h 1378859"/>
              <a:gd name="connsiteX18" fmla="*/ 865376 w 1219852"/>
              <a:gd name="connsiteY18" fmla="*/ 1365404 h 1378859"/>
              <a:gd name="connsiteX19" fmla="*/ 776182 w 1219852"/>
              <a:gd name="connsiteY19" fmla="*/ 1354149 h 1378859"/>
              <a:gd name="connsiteX20" fmla="*/ 13163 w 1219852"/>
              <a:gd name="connsiteY20" fmla="*/ 354015 h 1378859"/>
              <a:gd name="connsiteX21" fmla="*/ 25156 w 1219852"/>
              <a:gd name="connsiteY21" fmla="*/ 264730 h 1378859"/>
              <a:gd name="connsiteX22" fmla="*/ 354947 w 1219852"/>
              <a:gd name="connsiteY22" fmla="*/ 12633 h 1378859"/>
              <a:gd name="connsiteX23" fmla="*/ 400856 w 1219852"/>
              <a:gd name="connsiteY23" fmla="*/ 628 h 137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852" h="1378859">
                <a:moveTo>
                  <a:pt x="827635" y="347519"/>
                </a:moveTo>
                <a:cubicBezTo>
                  <a:pt x="822183" y="346673"/>
                  <a:pt x="816355" y="347990"/>
                  <a:pt x="811843" y="351753"/>
                </a:cubicBezTo>
                <a:lnTo>
                  <a:pt x="736429" y="409315"/>
                </a:lnTo>
                <a:lnTo>
                  <a:pt x="914342" y="642867"/>
                </a:lnTo>
                <a:lnTo>
                  <a:pt x="990065" y="585069"/>
                </a:lnTo>
                <a:cubicBezTo>
                  <a:pt x="999840" y="579048"/>
                  <a:pt x="1001344" y="564748"/>
                  <a:pt x="994577" y="554964"/>
                </a:cubicBezTo>
                <a:lnTo>
                  <a:pt x="841171" y="356269"/>
                </a:lnTo>
                <a:cubicBezTo>
                  <a:pt x="838163" y="351377"/>
                  <a:pt x="833087" y="348366"/>
                  <a:pt x="827635" y="347519"/>
                </a:cubicBezTo>
                <a:close/>
                <a:moveTo>
                  <a:pt x="400856" y="628"/>
                </a:moveTo>
                <a:cubicBezTo>
                  <a:pt x="416971" y="2879"/>
                  <a:pt x="432524" y="11132"/>
                  <a:pt x="443392" y="24637"/>
                </a:cubicBezTo>
                <a:lnTo>
                  <a:pt x="693116" y="352458"/>
                </a:lnTo>
                <a:lnTo>
                  <a:pt x="768980" y="294553"/>
                </a:lnTo>
                <a:cubicBezTo>
                  <a:pt x="809587" y="262942"/>
                  <a:pt x="867491" y="271221"/>
                  <a:pt x="899074" y="311863"/>
                </a:cubicBezTo>
                <a:lnTo>
                  <a:pt x="1052480" y="511311"/>
                </a:lnTo>
                <a:cubicBezTo>
                  <a:pt x="1082559" y="553458"/>
                  <a:pt x="1075039" y="610658"/>
                  <a:pt x="1034432" y="643022"/>
                </a:cubicBezTo>
                <a:lnTo>
                  <a:pt x="958570" y="700926"/>
                </a:lnTo>
                <a:lnTo>
                  <a:pt x="1206410" y="1026273"/>
                </a:lnTo>
                <a:cubicBezTo>
                  <a:pt x="1228147" y="1052533"/>
                  <a:pt x="1222900" y="1093049"/>
                  <a:pt x="1195167" y="1113307"/>
                </a:cubicBezTo>
                <a:lnTo>
                  <a:pt x="865376" y="1365404"/>
                </a:lnTo>
                <a:cubicBezTo>
                  <a:pt x="837643" y="1387162"/>
                  <a:pt x="797918" y="1381910"/>
                  <a:pt x="776182" y="1354149"/>
                </a:cubicBezTo>
                <a:lnTo>
                  <a:pt x="13163" y="354015"/>
                </a:lnTo>
                <a:cubicBezTo>
                  <a:pt x="-8573" y="326254"/>
                  <a:pt x="-2577" y="286489"/>
                  <a:pt x="25156" y="264730"/>
                </a:cubicBezTo>
                <a:lnTo>
                  <a:pt x="354947" y="12633"/>
                </a:lnTo>
                <a:cubicBezTo>
                  <a:pt x="368064" y="2129"/>
                  <a:pt x="384741" y="-1623"/>
                  <a:pt x="400856" y="628"/>
                </a:cubicBezTo>
                <a:close/>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0" dirty="0">
              <a:latin typeface="+mj-lt"/>
            </a:endParaRPr>
          </a:p>
        </p:txBody>
      </p:sp>
      <p:sp>
        <p:nvSpPr>
          <p:cNvPr id="31" name="Freeform 76">
            <a:extLst>
              <a:ext uri="{FF2B5EF4-FFF2-40B4-BE49-F238E27FC236}">
                <a16:creationId xmlns:a16="http://schemas.microsoft.com/office/drawing/2014/main" xmlns="" id="{CCCA3169-248C-4CA6-970A-517789137C69}"/>
              </a:ext>
            </a:extLst>
          </p:cNvPr>
          <p:cNvSpPr>
            <a:spLocks noChangeArrowheads="1"/>
          </p:cNvSpPr>
          <p:nvPr/>
        </p:nvSpPr>
        <p:spPr bwMode="auto">
          <a:xfrm>
            <a:off x="4121238" y="2662454"/>
            <a:ext cx="423480" cy="293156"/>
          </a:xfrm>
          <a:custGeom>
            <a:avLst/>
            <a:gdLst>
              <a:gd name="connsiteX0" fmla="*/ 869451 w 1128985"/>
              <a:gd name="connsiteY0" fmla="*/ 0 h 781547"/>
              <a:gd name="connsiteX1" fmla="*/ 1128985 w 1128985"/>
              <a:gd name="connsiteY1" fmla="*/ 139041 h 781547"/>
              <a:gd name="connsiteX2" fmla="*/ 373635 w 1128985"/>
              <a:gd name="connsiteY2" fmla="*/ 541882 h 781547"/>
              <a:gd name="connsiteX3" fmla="*/ 372915 w 1128985"/>
              <a:gd name="connsiteY3" fmla="*/ 540159 h 781547"/>
              <a:gd name="connsiteX4" fmla="*/ 370525 w 1128985"/>
              <a:gd name="connsiteY4" fmla="*/ 541496 h 781547"/>
              <a:gd name="connsiteX5" fmla="*/ 308363 w 1128985"/>
              <a:gd name="connsiteY5" fmla="*/ 760258 h 781547"/>
              <a:gd name="connsiteX6" fmla="*/ 268576 w 1128985"/>
              <a:gd name="connsiteY6" fmla="*/ 736766 h 781547"/>
              <a:gd name="connsiteX7" fmla="*/ 260481 w 1128985"/>
              <a:gd name="connsiteY7" fmla="*/ 726745 h 781547"/>
              <a:gd name="connsiteX8" fmla="*/ 253821 w 1128985"/>
              <a:gd name="connsiteY8" fmla="*/ 732495 h 781547"/>
              <a:gd name="connsiteX9" fmla="*/ 178622 w 1128985"/>
              <a:gd name="connsiteY9" fmla="*/ 774827 h 781547"/>
              <a:gd name="connsiteX10" fmla="*/ 101002 w 1128985"/>
              <a:gd name="connsiteY10" fmla="*/ 716467 h 781547"/>
              <a:gd name="connsiteX11" fmla="*/ 101849 w 1128985"/>
              <a:gd name="connsiteY11" fmla="*/ 714699 h 781547"/>
              <a:gd name="connsiteX12" fmla="*/ 73316 w 1128985"/>
              <a:gd name="connsiteY12" fmla="*/ 690524 h 781547"/>
              <a:gd name="connsiteX13" fmla="*/ 67006 w 1128985"/>
              <a:gd name="connsiteY13" fmla="*/ 653281 h 781547"/>
              <a:gd name="connsiteX14" fmla="*/ 68249 w 1128985"/>
              <a:gd name="connsiteY14" fmla="*/ 650682 h 781547"/>
              <a:gd name="connsiteX15" fmla="*/ 41233 w 1128985"/>
              <a:gd name="connsiteY15" fmla="*/ 628118 h 781547"/>
              <a:gd name="connsiteX16" fmla="*/ 34504 w 1128985"/>
              <a:gd name="connsiteY16" fmla="*/ 590723 h 781547"/>
              <a:gd name="connsiteX17" fmla="*/ 35223 w 1128985"/>
              <a:gd name="connsiteY17" fmla="*/ 589185 h 781547"/>
              <a:gd name="connsiteX18" fmla="*/ 7701 w 1128985"/>
              <a:gd name="connsiteY18" fmla="*/ 566199 h 781547"/>
              <a:gd name="connsiteX19" fmla="*/ 27763 w 1128985"/>
              <a:gd name="connsiteY19" fmla="*/ 495873 h 781547"/>
              <a:gd name="connsiteX20" fmla="*/ 101664 w 1128985"/>
              <a:gd name="connsiteY20" fmla="*/ 455419 h 781547"/>
              <a:gd name="connsiteX21" fmla="*/ 112337 w 1128985"/>
              <a:gd name="connsiteY21" fmla="*/ 451846 h 781547"/>
              <a:gd name="connsiteX22" fmla="*/ 110643 w 1128985"/>
              <a:gd name="connsiteY22" fmla="*/ 448278 h 781547"/>
              <a:gd name="connsiteX23" fmla="*/ 305011 w 1128985"/>
              <a:gd name="connsiteY23" fmla="*/ 340504 h 78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8985" h="781547">
                <a:moveTo>
                  <a:pt x="869451" y="0"/>
                </a:moveTo>
                <a:lnTo>
                  <a:pt x="1128985" y="139041"/>
                </a:lnTo>
                <a:lnTo>
                  <a:pt x="373635" y="541882"/>
                </a:lnTo>
                <a:lnTo>
                  <a:pt x="372915" y="540159"/>
                </a:lnTo>
                <a:lnTo>
                  <a:pt x="370525" y="541496"/>
                </a:lnTo>
                <a:cubicBezTo>
                  <a:pt x="497845" y="675309"/>
                  <a:pt x="336074" y="744471"/>
                  <a:pt x="308363" y="760258"/>
                </a:cubicBezTo>
                <a:cubicBezTo>
                  <a:pt x="308363" y="760258"/>
                  <a:pt x="285520" y="750109"/>
                  <a:pt x="268576" y="736766"/>
                </a:cubicBezTo>
                <a:lnTo>
                  <a:pt x="260481" y="726745"/>
                </a:lnTo>
                <a:lnTo>
                  <a:pt x="253821" y="732495"/>
                </a:lnTo>
                <a:lnTo>
                  <a:pt x="178622" y="774827"/>
                </a:lnTo>
                <a:cubicBezTo>
                  <a:pt x="135194" y="798639"/>
                  <a:pt x="92613" y="754417"/>
                  <a:pt x="101002" y="716467"/>
                </a:cubicBezTo>
                <a:lnTo>
                  <a:pt x="101849" y="714699"/>
                </a:lnTo>
                <a:lnTo>
                  <a:pt x="73316" y="690524"/>
                </a:lnTo>
                <a:cubicBezTo>
                  <a:pt x="66831" y="679275"/>
                  <a:pt x="64148" y="665931"/>
                  <a:pt x="67006" y="653281"/>
                </a:cubicBezTo>
                <a:lnTo>
                  <a:pt x="68249" y="650682"/>
                </a:lnTo>
                <a:lnTo>
                  <a:pt x="41233" y="628118"/>
                </a:lnTo>
                <a:cubicBezTo>
                  <a:pt x="34586" y="616874"/>
                  <a:pt x="31734" y="603503"/>
                  <a:pt x="34504" y="590723"/>
                </a:cubicBezTo>
                <a:lnTo>
                  <a:pt x="35223" y="589185"/>
                </a:lnTo>
                <a:lnTo>
                  <a:pt x="7701" y="566199"/>
                </a:lnTo>
                <a:cubicBezTo>
                  <a:pt x="-5456" y="544006"/>
                  <a:pt x="-3590" y="513478"/>
                  <a:pt x="27763" y="495873"/>
                </a:cubicBezTo>
                <a:lnTo>
                  <a:pt x="101664" y="455419"/>
                </a:lnTo>
                <a:lnTo>
                  <a:pt x="112337" y="451846"/>
                </a:lnTo>
                <a:lnTo>
                  <a:pt x="110643" y="448278"/>
                </a:lnTo>
                <a:lnTo>
                  <a:pt x="305011" y="340504"/>
                </a:ln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0" dirty="0">
              <a:latin typeface="+mj-lt"/>
            </a:endParaRPr>
          </a:p>
        </p:txBody>
      </p:sp>
      <p:sp>
        <p:nvSpPr>
          <p:cNvPr id="32" name="Freeform 21">
            <a:extLst>
              <a:ext uri="{FF2B5EF4-FFF2-40B4-BE49-F238E27FC236}">
                <a16:creationId xmlns:a16="http://schemas.microsoft.com/office/drawing/2014/main" xmlns="" id="{C3E3E238-64A9-4EA9-955B-AB5B4853A358}"/>
              </a:ext>
            </a:extLst>
          </p:cNvPr>
          <p:cNvSpPr>
            <a:spLocks noChangeArrowheads="1"/>
          </p:cNvSpPr>
          <p:nvPr/>
        </p:nvSpPr>
        <p:spPr bwMode="auto">
          <a:xfrm>
            <a:off x="4513971" y="2491183"/>
            <a:ext cx="601934" cy="783133"/>
          </a:xfrm>
          <a:custGeom>
            <a:avLst/>
            <a:gdLst>
              <a:gd name="T0" fmla="*/ 0 w 2138"/>
              <a:gd name="T1" fmla="*/ 2511 h 2783"/>
              <a:gd name="T2" fmla="*/ 0 w 2138"/>
              <a:gd name="T3" fmla="*/ 2511 h 2783"/>
              <a:gd name="T4" fmla="*/ 1037 w 2138"/>
              <a:gd name="T5" fmla="*/ 311 h 2783"/>
              <a:gd name="T6" fmla="*/ 1688 w 2138"/>
              <a:gd name="T7" fmla="*/ 0 h 2783"/>
              <a:gd name="T8" fmla="*/ 2137 w 2138"/>
              <a:gd name="T9" fmla="*/ 396 h 2783"/>
              <a:gd name="T10" fmla="*/ 2137 w 2138"/>
              <a:gd name="T11" fmla="*/ 396 h 2783"/>
              <a:gd name="T12" fmla="*/ 1916 w 2138"/>
              <a:gd name="T13" fmla="*/ 1261 h 2783"/>
              <a:gd name="T14" fmla="*/ 1181 w 2138"/>
              <a:gd name="T15" fmla="*/ 2782 h 2783"/>
              <a:gd name="T16" fmla="*/ 0 w 2138"/>
              <a:gd name="T17" fmla="*/ 2511 h 2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8" h="2783">
                <a:moveTo>
                  <a:pt x="0" y="2511"/>
                </a:moveTo>
                <a:lnTo>
                  <a:pt x="0" y="2511"/>
                </a:lnTo>
                <a:cubicBezTo>
                  <a:pt x="0" y="2511"/>
                  <a:pt x="778" y="571"/>
                  <a:pt x="1037" y="311"/>
                </a:cubicBezTo>
                <a:lnTo>
                  <a:pt x="1688" y="0"/>
                </a:lnTo>
                <a:lnTo>
                  <a:pt x="2137" y="396"/>
                </a:lnTo>
                <a:lnTo>
                  <a:pt x="2137" y="396"/>
                </a:lnTo>
                <a:cubicBezTo>
                  <a:pt x="2137" y="396"/>
                  <a:pt x="2011" y="1066"/>
                  <a:pt x="1916" y="1261"/>
                </a:cubicBezTo>
                <a:lnTo>
                  <a:pt x="1181" y="2782"/>
                </a:lnTo>
                <a:lnTo>
                  <a:pt x="0" y="2511"/>
                </a:lnTo>
              </a:path>
            </a:pathLst>
          </a:custGeom>
          <a:solidFill>
            <a:schemeClr val="bg1">
              <a:lumMod val="75000"/>
            </a:schemeClr>
          </a:solidFill>
          <a:ln>
            <a:noFill/>
          </a:ln>
          <a:effectLst/>
        </p:spPr>
        <p:txBody>
          <a:bodyPr wrap="none" anchor="ctr"/>
          <a:lstStyle/>
          <a:p>
            <a:endParaRPr lang="en-GB" sz="2450" dirty="0">
              <a:latin typeface="+mj-lt"/>
            </a:endParaRPr>
          </a:p>
        </p:txBody>
      </p:sp>
      <p:sp>
        <p:nvSpPr>
          <p:cNvPr id="33" name="Freeform 27">
            <a:extLst>
              <a:ext uri="{FF2B5EF4-FFF2-40B4-BE49-F238E27FC236}">
                <a16:creationId xmlns:a16="http://schemas.microsoft.com/office/drawing/2014/main" xmlns="" id="{CABCA2B8-BA3F-4C55-A5C5-54927E1CA8A1}"/>
              </a:ext>
            </a:extLst>
          </p:cNvPr>
          <p:cNvSpPr>
            <a:spLocks noChangeArrowheads="1"/>
          </p:cNvSpPr>
          <p:nvPr/>
        </p:nvSpPr>
        <p:spPr bwMode="auto">
          <a:xfrm>
            <a:off x="4971938" y="2050592"/>
            <a:ext cx="435627" cy="594487"/>
          </a:xfrm>
          <a:custGeom>
            <a:avLst/>
            <a:gdLst>
              <a:gd name="T0" fmla="*/ 6 w 1549"/>
              <a:gd name="T1" fmla="*/ 889 h 2112"/>
              <a:gd name="T2" fmla="*/ 6 w 1549"/>
              <a:gd name="T3" fmla="*/ 889 h 2112"/>
              <a:gd name="T4" fmla="*/ 137 w 1549"/>
              <a:gd name="T5" fmla="*/ 1347 h 2112"/>
              <a:gd name="T6" fmla="*/ 137 w 1549"/>
              <a:gd name="T7" fmla="*/ 1347 h 2112"/>
              <a:gd name="T8" fmla="*/ 64 w 1549"/>
              <a:gd name="T9" fmla="*/ 1562 h 2112"/>
              <a:gd name="T10" fmla="*/ 480 w 1549"/>
              <a:gd name="T11" fmla="*/ 2111 h 2112"/>
              <a:gd name="T12" fmla="*/ 618 w 1549"/>
              <a:gd name="T13" fmla="*/ 1707 h 2112"/>
              <a:gd name="T14" fmla="*/ 618 w 1549"/>
              <a:gd name="T15" fmla="*/ 1707 h 2112"/>
              <a:gd name="T16" fmla="*/ 799 w 1549"/>
              <a:gd name="T17" fmla="*/ 1819 h 2112"/>
              <a:gd name="T18" fmla="*/ 799 w 1549"/>
              <a:gd name="T19" fmla="*/ 1819 h 2112"/>
              <a:gd name="T20" fmla="*/ 996 w 1549"/>
              <a:gd name="T21" fmla="*/ 1811 h 2112"/>
              <a:gd name="T22" fmla="*/ 996 w 1549"/>
              <a:gd name="T23" fmla="*/ 1811 h 2112"/>
              <a:gd name="T24" fmla="*/ 1138 w 1549"/>
              <a:gd name="T25" fmla="*/ 1444 h 2112"/>
              <a:gd name="T26" fmla="*/ 1138 w 1549"/>
              <a:gd name="T27" fmla="*/ 1444 h 2112"/>
              <a:gd name="T28" fmla="*/ 1181 w 1549"/>
              <a:gd name="T29" fmla="*/ 1213 h 2112"/>
              <a:gd name="T30" fmla="*/ 1181 w 1549"/>
              <a:gd name="T31" fmla="*/ 1213 h 2112"/>
              <a:gd name="T32" fmla="*/ 6 w 1549"/>
              <a:gd name="T33" fmla="*/ 889 h 2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9" h="2112">
                <a:moveTo>
                  <a:pt x="6" y="889"/>
                </a:moveTo>
                <a:lnTo>
                  <a:pt x="6" y="889"/>
                </a:lnTo>
                <a:cubicBezTo>
                  <a:pt x="7" y="1108"/>
                  <a:pt x="138" y="1283"/>
                  <a:pt x="137" y="1347"/>
                </a:cubicBezTo>
                <a:lnTo>
                  <a:pt x="137" y="1347"/>
                </a:lnTo>
                <a:cubicBezTo>
                  <a:pt x="135" y="1386"/>
                  <a:pt x="64" y="1562"/>
                  <a:pt x="64" y="1562"/>
                </a:cubicBezTo>
                <a:lnTo>
                  <a:pt x="480" y="2111"/>
                </a:lnTo>
                <a:lnTo>
                  <a:pt x="618" y="1707"/>
                </a:lnTo>
                <a:lnTo>
                  <a:pt x="618" y="1707"/>
                </a:lnTo>
                <a:cubicBezTo>
                  <a:pt x="618" y="1707"/>
                  <a:pt x="715" y="1790"/>
                  <a:pt x="799" y="1819"/>
                </a:cubicBezTo>
                <a:lnTo>
                  <a:pt x="799" y="1819"/>
                </a:lnTo>
                <a:cubicBezTo>
                  <a:pt x="799" y="1819"/>
                  <a:pt x="944" y="1887"/>
                  <a:pt x="996" y="1811"/>
                </a:cubicBezTo>
                <a:lnTo>
                  <a:pt x="996" y="1811"/>
                </a:lnTo>
                <a:cubicBezTo>
                  <a:pt x="1064" y="1589"/>
                  <a:pt x="1084" y="1565"/>
                  <a:pt x="1138" y="1444"/>
                </a:cubicBezTo>
                <a:lnTo>
                  <a:pt x="1138" y="1444"/>
                </a:lnTo>
                <a:cubicBezTo>
                  <a:pt x="1259" y="1427"/>
                  <a:pt x="1293" y="1359"/>
                  <a:pt x="1181" y="1213"/>
                </a:cubicBezTo>
                <a:lnTo>
                  <a:pt x="1181" y="1213"/>
                </a:lnTo>
                <a:cubicBezTo>
                  <a:pt x="1548" y="238"/>
                  <a:pt x="0" y="0"/>
                  <a:pt x="6" y="889"/>
                </a:cubicBez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4" name="Freeform 28">
            <a:extLst>
              <a:ext uri="{FF2B5EF4-FFF2-40B4-BE49-F238E27FC236}">
                <a16:creationId xmlns:a16="http://schemas.microsoft.com/office/drawing/2014/main" xmlns="" id="{5963071C-4C32-473D-B522-29455CF28114}"/>
              </a:ext>
            </a:extLst>
          </p:cNvPr>
          <p:cNvSpPr>
            <a:spLocks noChangeArrowheads="1"/>
          </p:cNvSpPr>
          <p:nvPr/>
        </p:nvSpPr>
        <p:spPr bwMode="auto">
          <a:xfrm>
            <a:off x="3866118" y="3352505"/>
            <a:ext cx="909727" cy="816644"/>
          </a:xfrm>
          <a:custGeom>
            <a:avLst/>
            <a:gdLst>
              <a:gd name="T0" fmla="*/ 2265 w 3234"/>
              <a:gd name="T1" fmla="*/ 0 h 2903"/>
              <a:gd name="T2" fmla="*/ 2265 w 3234"/>
              <a:gd name="T3" fmla="*/ 0 h 2903"/>
              <a:gd name="T4" fmla="*/ 2010 w 3234"/>
              <a:gd name="T5" fmla="*/ 1351 h 2903"/>
              <a:gd name="T6" fmla="*/ 0 w 3234"/>
              <a:gd name="T7" fmla="*/ 2433 h 2903"/>
              <a:gd name="T8" fmla="*/ 145 w 3234"/>
              <a:gd name="T9" fmla="*/ 2902 h 2903"/>
              <a:gd name="T10" fmla="*/ 145 w 3234"/>
              <a:gd name="T11" fmla="*/ 2902 h 2903"/>
              <a:gd name="T12" fmla="*/ 2933 w 3234"/>
              <a:gd name="T13" fmla="*/ 1681 h 2903"/>
              <a:gd name="T14" fmla="*/ 3233 w 3234"/>
              <a:gd name="T15" fmla="*/ 265 h 2903"/>
              <a:gd name="T16" fmla="*/ 2265 w 3234"/>
              <a:gd name="T17" fmla="*/ 0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4" h="2903">
                <a:moveTo>
                  <a:pt x="2265" y="0"/>
                </a:moveTo>
                <a:lnTo>
                  <a:pt x="2265" y="0"/>
                </a:lnTo>
                <a:cubicBezTo>
                  <a:pt x="2288" y="50"/>
                  <a:pt x="2010" y="1351"/>
                  <a:pt x="2010" y="1351"/>
                </a:cubicBezTo>
                <a:lnTo>
                  <a:pt x="0" y="2433"/>
                </a:lnTo>
                <a:lnTo>
                  <a:pt x="145" y="2902"/>
                </a:lnTo>
                <a:lnTo>
                  <a:pt x="145" y="2902"/>
                </a:lnTo>
                <a:cubicBezTo>
                  <a:pt x="145" y="2902"/>
                  <a:pt x="2750" y="1882"/>
                  <a:pt x="2933" y="1681"/>
                </a:cubicBezTo>
                <a:lnTo>
                  <a:pt x="3233" y="265"/>
                </a:lnTo>
                <a:lnTo>
                  <a:pt x="2265" y="0"/>
                </a:lnTo>
              </a:path>
            </a:pathLst>
          </a:custGeom>
          <a:solidFill>
            <a:schemeClr val="bg1">
              <a:lumMod val="50000"/>
            </a:schemeClr>
          </a:solidFill>
          <a:ln>
            <a:noFill/>
          </a:ln>
          <a:effectLst/>
        </p:spPr>
        <p:txBody>
          <a:bodyPr wrap="none" anchor="ctr"/>
          <a:lstStyle/>
          <a:p>
            <a:endParaRPr lang="en-GB" sz="2450" dirty="0">
              <a:latin typeface="+mj-lt"/>
            </a:endParaRPr>
          </a:p>
        </p:txBody>
      </p:sp>
      <p:sp>
        <p:nvSpPr>
          <p:cNvPr id="35" name="Freeform 29">
            <a:extLst>
              <a:ext uri="{FF2B5EF4-FFF2-40B4-BE49-F238E27FC236}">
                <a16:creationId xmlns:a16="http://schemas.microsoft.com/office/drawing/2014/main" xmlns="" id="{9D92A27F-C22A-4FED-9141-4F169297B2A0}"/>
              </a:ext>
            </a:extLst>
          </p:cNvPr>
          <p:cNvSpPr>
            <a:spLocks noChangeArrowheads="1"/>
          </p:cNvSpPr>
          <p:nvPr/>
        </p:nvSpPr>
        <p:spPr bwMode="auto">
          <a:xfrm>
            <a:off x="4366281" y="2523450"/>
            <a:ext cx="723562" cy="278006"/>
          </a:xfrm>
          <a:custGeom>
            <a:avLst/>
            <a:gdLst>
              <a:gd name="T0" fmla="*/ 0 w 2569"/>
              <a:gd name="T1" fmla="*/ 609 h 986"/>
              <a:gd name="T2" fmla="*/ 613 w 2569"/>
              <a:gd name="T3" fmla="*/ 171 h 986"/>
              <a:gd name="T4" fmla="*/ 613 w 2569"/>
              <a:gd name="T5" fmla="*/ 171 h 986"/>
              <a:gd name="T6" fmla="*/ 1461 w 2569"/>
              <a:gd name="T7" fmla="*/ 80 h 986"/>
              <a:gd name="T8" fmla="*/ 1461 w 2569"/>
              <a:gd name="T9" fmla="*/ 80 h 986"/>
              <a:gd name="T10" fmla="*/ 2171 w 2569"/>
              <a:gd name="T11" fmla="*/ 690 h 986"/>
              <a:gd name="T12" fmla="*/ 748 w 2569"/>
              <a:gd name="T13" fmla="*/ 708 h 986"/>
              <a:gd name="T14" fmla="*/ 211 w 2569"/>
              <a:gd name="T15" fmla="*/ 985 h 986"/>
              <a:gd name="T16" fmla="*/ 0 w 2569"/>
              <a:gd name="T17" fmla="*/ 609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9" h="986">
                <a:moveTo>
                  <a:pt x="0" y="609"/>
                </a:moveTo>
                <a:lnTo>
                  <a:pt x="613" y="171"/>
                </a:lnTo>
                <a:lnTo>
                  <a:pt x="613" y="171"/>
                </a:lnTo>
                <a:cubicBezTo>
                  <a:pt x="613" y="171"/>
                  <a:pt x="1046" y="110"/>
                  <a:pt x="1461" y="80"/>
                </a:cubicBezTo>
                <a:lnTo>
                  <a:pt x="1461" y="80"/>
                </a:lnTo>
                <a:cubicBezTo>
                  <a:pt x="2568" y="0"/>
                  <a:pt x="2360" y="688"/>
                  <a:pt x="2171" y="690"/>
                </a:cubicBezTo>
                <a:lnTo>
                  <a:pt x="748" y="708"/>
                </a:lnTo>
                <a:lnTo>
                  <a:pt x="211" y="985"/>
                </a:lnTo>
                <a:lnTo>
                  <a:pt x="0" y="609"/>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6" name="Freeform 30">
            <a:extLst>
              <a:ext uri="{FF2B5EF4-FFF2-40B4-BE49-F238E27FC236}">
                <a16:creationId xmlns:a16="http://schemas.microsoft.com/office/drawing/2014/main" xmlns="" id="{1E6C21F9-CDDD-494F-A09E-4CD85AF5EF9E}"/>
              </a:ext>
            </a:extLst>
          </p:cNvPr>
          <p:cNvSpPr>
            <a:spLocks noChangeArrowheads="1"/>
          </p:cNvSpPr>
          <p:nvPr/>
        </p:nvSpPr>
        <p:spPr bwMode="auto">
          <a:xfrm>
            <a:off x="4932222" y="2101478"/>
            <a:ext cx="423216" cy="328891"/>
          </a:xfrm>
          <a:custGeom>
            <a:avLst/>
            <a:gdLst>
              <a:gd name="T0" fmla="*/ 1443 w 1503"/>
              <a:gd name="T1" fmla="*/ 766 h 1167"/>
              <a:gd name="T2" fmla="*/ 883 w 1503"/>
              <a:gd name="T3" fmla="*/ 649 h 1167"/>
              <a:gd name="T4" fmla="*/ 883 w 1503"/>
              <a:gd name="T5" fmla="*/ 649 h 1167"/>
              <a:gd name="T6" fmla="*/ 275 w 1503"/>
              <a:gd name="T7" fmla="*/ 1166 h 1167"/>
              <a:gd name="T8" fmla="*/ 275 w 1503"/>
              <a:gd name="T9" fmla="*/ 1166 h 1167"/>
              <a:gd name="T10" fmla="*/ 236 w 1503"/>
              <a:gd name="T11" fmla="*/ 380 h 1167"/>
              <a:gd name="T12" fmla="*/ 236 w 1503"/>
              <a:gd name="T13" fmla="*/ 380 h 1167"/>
              <a:gd name="T14" fmla="*/ 940 w 1503"/>
              <a:gd name="T15" fmla="*/ 101 h 1167"/>
              <a:gd name="T16" fmla="*/ 880 w 1503"/>
              <a:gd name="T17" fmla="*/ 171 h 1167"/>
              <a:gd name="T18" fmla="*/ 880 w 1503"/>
              <a:gd name="T19" fmla="*/ 171 h 1167"/>
              <a:gd name="T20" fmla="*/ 1176 w 1503"/>
              <a:gd name="T21" fmla="*/ 210 h 1167"/>
              <a:gd name="T22" fmla="*/ 1176 w 1503"/>
              <a:gd name="T23" fmla="*/ 210 h 1167"/>
              <a:gd name="T24" fmla="*/ 1443 w 1503"/>
              <a:gd name="T25" fmla="*/ 766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3" h="1167">
                <a:moveTo>
                  <a:pt x="1443" y="766"/>
                </a:moveTo>
                <a:lnTo>
                  <a:pt x="883" y="649"/>
                </a:lnTo>
                <a:lnTo>
                  <a:pt x="883" y="649"/>
                </a:lnTo>
                <a:cubicBezTo>
                  <a:pt x="883" y="649"/>
                  <a:pt x="678" y="971"/>
                  <a:pt x="275" y="1166"/>
                </a:cubicBezTo>
                <a:lnTo>
                  <a:pt x="275" y="1166"/>
                </a:lnTo>
                <a:cubicBezTo>
                  <a:pt x="275" y="1166"/>
                  <a:pt x="0" y="799"/>
                  <a:pt x="236" y="380"/>
                </a:cubicBezTo>
                <a:lnTo>
                  <a:pt x="236" y="380"/>
                </a:lnTo>
                <a:cubicBezTo>
                  <a:pt x="236" y="380"/>
                  <a:pt x="434" y="0"/>
                  <a:pt x="940" y="101"/>
                </a:cubicBezTo>
                <a:lnTo>
                  <a:pt x="880" y="171"/>
                </a:lnTo>
                <a:lnTo>
                  <a:pt x="880" y="171"/>
                </a:lnTo>
                <a:cubicBezTo>
                  <a:pt x="880" y="171"/>
                  <a:pt x="867" y="64"/>
                  <a:pt x="1176" y="210"/>
                </a:cubicBezTo>
                <a:lnTo>
                  <a:pt x="1176" y="210"/>
                </a:lnTo>
                <a:cubicBezTo>
                  <a:pt x="1176" y="210"/>
                  <a:pt x="1502" y="386"/>
                  <a:pt x="1443" y="766"/>
                </a:cubicBezTo>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7" name="Freeform 31">
            <a:extLst>
              <a:ext uri="{FF2B5EF4-FFF2-40B4-BE49-F238E27FC236}">
                <a16:creationId xmlns:a16="http://schemas.microsoft.com/office/drawing/2014/main" xmlns="" id="{AB961CA3-2F12-4690-90CA-663ABD7F7840}"/>
              </a:ext>
            </a:extLst>
          </p:cNvPr>
          <p:cNvSpPr>
            <a:spLocks noChangeArrowheads="1"/>
          </p:cNvSpPr>
          <p:nvPr/>
        </p:nvSpPr>
        <p:spPr bwMode="auto">
          <a:xfrm>
            <a:off x="5048886" y="2312464"/>
            <a:ext cx="76948" cy="95564"/>
          </a:xfrm>
          <a:custGeom>
            <a:avLst/>
            <a:gdLst>
              <a:gd name="T0" fmla="*/ 273 w 274"/>
              <a:gd name="T1" fmla="*/ 140 h 340"/>
              <a:gd name="T2" fmla="*/ 273 w 274"/>
              <a:gd name="T3" fmla="*/ 140 h 340"/>
              <a:gd name="T4" fmla="*/ 135 w 274"/>
              <a:gd name="T5" fmla="*/ 3 h 340"/>
              <a:gd name="T6" fmla="*/ 135 w 274"/>
              <a:gd name="T7" fmla="*/ 3 h 340"/>
              <a:gd name="T8" fmla="*/ 176 w 274"/>
              <a:gd name="T9" fmla="*/ 339 h 340"/>
              <a:gd name="T10" fmla="*/ 273 w 274"/>
              <a:gd name="T11" fmla="*/ 140 h 340"/>
            </a:gdLst>
            <a:ahLst/>
            <a:cxnLst>
              <a:cxn ang="0">
                <a:pos x="T0" y="T1"/>
              </a:cxn>
              <a:cxn ang="0">
                <a:pos x="T2" y="T3"/>
              </a:cxn>
              <a:cxn ang="0">
                <a:pos x="T4" y="T5"/>
              </a:cxn>
              <a:cxn ang="0">
                <a:pos x="T6" y="T7"/>
              </a:cxn>
              <a:cxn ang="0">
                <a:pos x="T8" y="T9"/>
              </a:cxn>
              <a:cxn ang="0">
                <a:pos x="T10" y="T11"/>
              </a:cxn>
            </a:cxnLst>
            <a:rect l="0" t="0" r="r" b="b"/>
            <a:pathLst>
              <a:path w="274" h="340">
                <a:moveTo>
                  <a:pt x="273" y="140"/>
                </a:moveTo>
                <a:lnTo>
                  <a:pt x="273" y="140"/>
                </a:lnTo>
                <a:cubicBezTo>
                  <a:pt x="273" y="140"/>
                  <a:pt x="239" y="6"/>
                  <a:pt x="135" y="3"/>
                </a:cubicBezTo>
                <a:lnTo>
                  <a:pt x="135" y="3"/>
                </a:lnTo>
                <a:cubicBezTo>
                  <a:pt x="0" y="0"/>
                  <a:pt x="105" y="335"/>
                  <a:pt x="176" y="339"/>
                </a:cubicBezTo>
                <a:lnTo>
                  <a:pt x="273" y="140"/>
                </a:ln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8" name="Freeform 32">
            <a:extLst>
              <a:ext uri="{FF2B5EF4-FFF2-40B4-BE49-F238E27FC236}">
                <a16:creationId xmlns:a16="http://schemas.microsoft.com/office/drawing/2014/main" xmlns="" id="{A5DE87DA-34E3-4069-A4D0-D9C6BD15B167}"/>
              </a:ext>
            </a:extLst>
          </p:cNvPr>
          <p:cNvSpPr>
            <a:spLocks noChangeArrowheads="1"/>
          </p:cNvSpPr>
          <p:nvPr/>
        </p:nvSpPr>
        <p:spPr bwMode="auto">
          <a:xfrm>
            <a:off x="5050129" y="2570612"/>
            <a:ext cx="55849" cy="193612"/>
          </a:xfrm>
          <a:custGeom>
            <a:avLst/>
            <a:gdLst>
              <a:gd name="T0" fmla="*/ 0 w 199"/>
              <a:gd name="T1" fmla="*/ 0 h 689"/>
              <a:gd name="T2" fmla="*/ 102 w 199"/>
              <a:gd name="T3" fmla="*/ 688 h 689"/>
              <a:gd name="T4" fmla="*/ 198 w 199"/>
              <a:gd name="T5" fmla="*/ 263 h 689"/>
              <a:gd name="T6" fmla="*/ 0 w 199"/>
              <a:gd name="T7" fmla="*/ 0 h 689"/>
            </a:gdLst>
            <a:ahLst/>
            <a:cxnLst>
              <a:cxn ang="0">
                <a:pos x="T0" y="T1"/>
              </a:cxn>
              <a:cxn ang="0">
                <a:pos x="T2" y="T3"/>
              </a:cxn>
              <a:cxn ang="0">
                <a:pos x="T4" y="T5"/>
              </a:cxn>
              <a:cxn ang="0">
                <a:pos x="T6" y="T7"/>
              </a:cxn>
            </a:cxnLst>
            <a:rect l="0" t="0" r="r" b="b"/>
            <a:pathLst>
              <a:path w="199" h="689">
                <a:moveTo>
                  <a:pt x="0" y="0"/>
                </a:moveTo>
                <a:lnTo>
                  <a:pt x="102" y="688"/>
                </a:lnTo>
                <a:lnTo>
                  <a:pt x="198" y="263"/>
                </a:lnTo>
                <a:lnTo>
                  <a:pt x="0" y="0"/>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9" name="Freeform 33">
            <a:extLst>
              <a:ext uri="{FF2B5EF4-FFF2-40B4-BE49-F238E27FC236}">
                <a16:creationId xmlns:a16="http://schemas.microsoft.com/office/drawing/2014/main" xmlns="" id="{24E3F3B0-F530-4604-99B8-0D1D063F9BB5}"/>
              </a:ext>
            </a:extLst>
          </p:cNvPr>
          <p:cNvSpPr>
            <a:spLocks noChangeArrowheads="1"/>
          </p:cNvSpPr>
          <p:nvPr/>
        </p:nvSpPr>
        <p:spPr bwMode="auto">
          <a:xfrm>
            <a:off x="5232569" y="4031386"/>
            <a:ext cx="328892" cy="146450"/>
          </a:xfrm>
          <a:custGeom>
            <a:avLst/>
            <a:gdLst>
              <a:gd name="T0" fmla="*/ 5 w 1167"/>
              <a:gd name="T1" fmla="*/ 161 h 521"/>
              <a:gd name="T2" fmla="*/ 5 w 1167"/>
              <a:gd name="T3" fmla="*/ 161 h 521"/>
              <a:gd name="T4" fmla="*/ 149 w 1167"/>
              <a:gd name="T5" fmla="*/ 520 h 521"/>
              <a:gd name="T6" fmla="*/ 1148 w 1167"/>
              <a:gd name="T7" fmla="*/ 230 h 521"/>
              <a:gd name="T8" fmla="*/ 1148 w 1167"/>
              <a:gd name="T9" fmla="*/ 230 h 521"/>
              <a:gd name="T10" fmla="*/ 913 w 1167"/>
              <a:gd name="T11" fmla="*/ 54 h 521"/>
              <a:gd name="T12" fmla="*/ 460 w 1167"/>
              <a:gd name="T13" fmla="*/ 94 h 521"/>
              <a:gd name="T14" fmla="*/ 336 w 1167"/>
              <a:gd name="T15" fmla="*/ 42 h 521"/>
              <a:gd name="T16" fmla="*/ 5 w 1167"/>
              <a:gd name="T17" fmla="*/ 16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7" h="521">
                <a:moveTo>
                  <a:pt x="5" y="161"/>
                </a:moveTo>
                <a:lnTo>
                  <a:pt x="5" y="161"/>
                </a:lnTo>
                <a:cubicBezTo>
                  <a:pt x="5" y="161"/>
                  <a:pt x="0" y="369"/>
                  <a:pt x="149" y="520"/>
                </a:cubicBezTo>
                <a:lnTo>
                  <a:pt x="1148" y="230"/>
                </a:lnTo>
                <a:lnTo>
                  <a:pt x="1148" y="230"/>
                </a:lnTo>
                <a:cubicBezTo>
                  <a:pt x="1148" y="230"/>
                  <a:pt x="1166" y="0"/>
                  <a:pt x="913" y="54"/>
                </a:cubicBezTo>
                <a:lnTo>
                  <a:pt x="460" y="94"/>
                </a:lnTo>
                <a:lnTo>
                  <a:pt x="336" y="42"/>
                </a:lnTo>
                <a:lnTo>
                  <a:pt x="5" y="161"/>
                </a:lnTo>
              </a:path>
            </a:pathLst>
          </a:custGeom>
          <a:solidFill>
            <a:schemeClr val="tx2">
              <a:lumMod val="95000"/>
              <a:lumOff val="5000"/>
            </a:schemeClr>
          </a:solidFill>
          <a:ln>
            <a:noFill/>
          </a:ln>
          <a:effectLst/>
        </p:spPr>
        <p:txBody>
          <a:bodyPr wrap="none" anchor="ctr"/>
          <a:lstStyle/>
          <a:p>
            <a:endParaRPr lang="en-GB" sz="2450" dirty="0">
              <a:latin typeface="+mj-lt"/>
            </a:endParaRPr>
          </a:p>
        </p:txBody>
      </p:sp>
      <p:sp>
        <p:nvSpPr>
          <p:cNvPr id="40" name="Freeform 34">
            <a:extLst>
              <a:ext uri="{FF2B5EF4-FFF2-40B4-BE49-F238E27FC236}">
                <a16:creationId xmlns:a16="http://schemas.microsoft.com/office/drawing/2014/main" xmlns="" id="{A23E8C3C-3E9F-46C2-B996-3D4A357B57DC}"/>
              </a:ext>
            </a:extLst>
          </p:cNvPr>
          <p:cNvSpPr>
            <a:spLocks noChangeArrowheads="1"/>
          </p:cNvSpPr>
          <p:nvPr/>
        </p:nvSpPr>
        <p:spPr bwMode="auto">
          <a:xfrm>
            <a:off x="3765588" y="4057450"/>
            <a:ext cx="157620" cy="328891"/>
          </a:xfrm>
          <a:custGeom>
            <a:avLst/>
            <a:gdLst>
              <a:gd name="T0" fmla="*/ 380 w 559"/>
              <a:gd name="T1" fmla="*/ 0 h 1169"/>
              <a:gd name="T2" fmla="*/ 380 w 559"/>
              <a:gd name="T3" fmla="*/ 0 h 1169"/>
              <a:gd name="T4" fmla="*/ 0 w 559"/>
              <a:gd name="T5" fmla="*/ 172 h 1169"/>
              <a:gd name="T6" fmla="*/ 327 w 559"/>
              <a:gd name="T7" fmla="*/ 1159 h 1169"/>
              <a:gd name="T8" fmla="*/ 327 w 559"/>
              <a:gd name="T9" fmla="*/ 1159 h 1169"/>
              <a:gd name="T10" fmla="*/ 494 w 559"/>
              <a:gd name="T11" fmla="*/ 918 h 1169"/>
              <a:gd name="T12" fmla="*/ 438 w 559"/>
              <a:gd name="T13" fmla="*/ 467 h 1169"/>
              <a:gd name="T14" fmla="*/ 485 w 559"/>
              <a:gd name="T15" fmla="*/ 340 h 1169"/>
              <a:gd name="T16" fmla="*/ 380 w 559"/>
              <a:gd name="T17" fmla="*/ 0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1169">
                <a:moveTo>
                  <a:pt x="380" y="0"/>
                </a:moveTo>
                <a:lnTo>
                  <a:pt x="380" y="0"/>
                </a:lnTo>
                <a:cubicBezTo>
                  <a:pt x="380" y="0"/>
                  <a:pt x="146" y="17"/>
                  <a:pt x="0" y="172"/>
                </a:cubicBezTo>
                <a:lnTo>
                  <a:pt x="327" y="1159"/>
                </a:lnTo>
                <a:lnTo>
                  <a:pt x="327" y="1159"/>
                </a:lnTo>
                <a:cubicBezTo>
                  <a:pt x="327" y="1159"/>
                  <a:pt x="558" y="1168"/>
                  <a:pt x="494" y="918"/>
                </a:cubicBezTo>
                <a:lnTo>
                  <a:pt x="438" y="467"/>
                </a:lnTo>
                <a:lnTo>
                  <a:pt x="485" y="340"/>
                </a:lnTo>
                <a:lnTo>
                  <a:pt x="380" y="0"/>
                </a:lnTo>
              </a:path>
            </a:pathLst>
          </a:custGeom>
          <a:solidFill>
            <a:schemeClr val="tx2">
              <a:lumMod val="95000"/>
              <a:lumOff val="5000"/>
            </a:schemeClr>
          </a:solidFill>
          <a:ln>
            <a:noFill/>
          </a:ln>
          <a:effectLst/>
        </p:spPr>
        <p:txBody>
          <a:bodyPr wrap="none" anchor="ctr"/>
          <a:lstStyle/>
          <a:p>
            <a:endParaRPr lang="en-GB" sz="2450" dirty="0">
              <a:latin typeface="+mj-lt"/>
            </a:endParaRPr>
          </a:p>
        </p:txBody>
      </p:sp>
      <p:sp>
        <p:nvSpPr>
          <p:cNvPr id="41" name="Freeform 35">
            <a:extLst>
              <a:ext uri="{FF2B5EF4-FFF2-40B4-BE49-F238E27FC236}">
                <a16:creationId xmlns:a16="http://schemas.microsoft.com/office/drawing/2014/main" xmlns="" id="{60E0FF1D-C456-4E92-AB74-0806D40ACF45}"/>
              </a:ext>
            </a:extLst>
          </p:cNvPr>
          <p:cNvSpPr>
            <a:spLocks noChangeArrowheads="1"/>
          </p:cNvSpPr>
          <p:nvPr/>
        </p:nvSpPr>
        <p:spPr bwMode="auto">
          <a:xfrm>
            <a:off x="5078673" y="2609087"/>
            <a:ext cx="34751" cy="64537"/>
          </a:xfrm>
          <a:custGeom>
            <a:avLst/>
            <a:gdLst>
              <a:gd name="T0" fmla="*/ 0 w 122"/>
              <a:gd name="T1" fmla="*/ 0 h 230"/>
              <a:gd name="T2" fmla="*/ 121 w 122"/>
              <a:gd name="T3" fmla="*/ 67 h 230"/>
              <a:gd name="T4" fmla="*/ 86 w 122"/>
              <a:gd name="T5" fmla="*/ 229 h 230"/>
              <a:gd name="T6" fmla="*/ 0 w 122"/>
              <a:gd name="T7" fmla="*/ 0 h 230"/>
            </a:gdLst>
            <a:ahLst/>
            <a:cxnLst>
              <a:cxn ang="0">
                <a:pos x="T0" y="T1"/>
              </a:cxn>
              <a:cxn ang="0">
                <a:pos x="T2" y="T3"/>
              </a:cxn>
              <a:cxn ang="0">
                <a:pos x="T4" y="T5"/>
              </a:cxn>
              <a:cxn ang="0">
                <a:pos x="T6" y="T7"/>
              </a:cxn>
            </a:cxnLst>
            <a:rect l="0" t="0" r="r" b="b"/>
            <a:pathLst>
              <a:path w="122" h="230">
                <a:moveTo>
                  <a:pt x="0" y="0"/>
                </a:moveTo>
                <a:lnTo>
                  <a:pt x="121" y="67"/>
                </a:lnTo>
                <a:lnTo>
                  <a:pt x="86" y="229"/>
                </a:lnTo>
                <a:lnTo>
                  <a:pt x="0" y="0"/>
                </a:lnTo>
              </a:path>
            </a:pathLst>
          </a:custGeom>
          <a:solidFill>
            <a:schemeClr val="accent1"/>
          </a:solidFill>
          <a:ln>
            <a:noFill/>
          </a:ln>
          <a:effectLst/>
        </p:spPr>
        <p:txBody>
          <a:bodyPr wrap="none" anchor="ctr"/>
          <a:lstStyle/>
          <a:p>
            <a:endParaRPr lang="en-GB" sz="2450" dirty="0">
              <a:latin typeface="+mj-lt"/>
            </a:endParaRPr>
          </a:p>
        </p:txBody>
      </p:sp>
      <p:sp>
        <p:nvSpPr>
          <p:cNvPr id="42" name="Freeform 36">
            <a:extLst>
              <a:ext uri="{FF2B5EF4-FFF2-40B4-BE49-F238E27FC236}">
                <a16:creationId xmlns:a16="http://schemas.microsoft.com/office/drawing/2014/main" xmlns="" id="{7031CA6F-4238-407A-AABC-DF7A39E1344D}"/>
              </a:ext>
            </a:extLst>
          </p:cNvPr>
          <p:cNvSpPr>
            <a:spLocks noChangeArrowheads="1"/>
          </p:cNvSpPr>
          <p:nvPr/>
        </p:nvSpPr>
        <p:spPr bwMode="auto">
          <a:xfrm>
            <a:off x="5005447" y="2643838"/>
            <a:ext cx="96806" cy="335097"/>
          </a:xfrm>
          <a:custGeom>
            <a:avLst/>
            <a:gdLst>
              <a:gd name="T0" fmla="*/ 308 w 346"/>
              <a:gd name="T1" fmla="*/ 0 h 1190"/>
              <a:gd name="T2" fmla="*/ 0 w 346"/>
              <a:gd name="T3" fmla="*/ 935 h 1190"/>
              <a:gd name="T4" fmla="*/ 83 w 346"/>
              <a:gd name="T5" fmla="*/ 1189 h 1190"/>
              <a:gd name="T6" fmla="*/ 215 w 346"/>
              <a:gd name="T7" fmla="*/ 1076 h 1190"/>
              <a:gd name="T8" fmla="*/ 345 w 346"/>
              <a:gd name="T9" fmla="*/ 102 h 1190"/>
              <a:gd name="T10" fmla="*/ 308 w 346"/>
              <a:gd name="T11" fmla="*/ 0 h 1190"/>
            </a:gdLst>
            <a:ahLst/>
            <a:cxnLst>
              <a:cxn ang="0">
                <a:pos x="T0" y="T1"/>
              </a:cxn>
              <a:cxn ang="0">
                <a:pos x="T2" y="T3"/>
              </a:cxn>
              <a:cxn ang="0">
                <a:pos x="T4" y="T5"/>
              </a:cxn>
              <a:cxn ang="0">
                <a:pos x="T6" y="T7"/>
              </a:cxn>
              <a:cxn ang="0">
                <a:pos x="T8" y="T9"/>
              </a:cxn>
              <a:cxn ang="0">
                <a:pos x="T10" y="T11"/>
              </a:cxn>
            </a:cxnLst>
            <a:rect l="0" t="0" r="r" b="b"/>
            <a:pathLst>
              <a:path w="346" h="1190">
                <a:moveTo>
                  <a:pt x="308" y="0"/>
                </a:moveTo>
                <a:lnTo>
                  <a:pt x="0" y="935"/>
                </a:lnTo>
                <a:lnTo>
                  <a:pt x="83" y="1189"/>
                </a:lnTo>
                <a:lnTo>
                  <a:pt x="215" y="1076"/>
                </a:lnTo>
                <a:lnTo>
                  <a:pt x="345" y="102"/>
                </a:lnTo>
                <a:lnTo>
                  <a:pt x="308" y="0"/>
                </a:lnTo>
              </a:path>
            </a:pathLst>
          </a:custGeom>
          <a:solidFill>
            <a:schemeClr val="accent1"/>
          </a:solidFill>
          <a:ln>
            <a:noFill/>
          </a:ln>
          <a:effectLst/>
        </p:spPr>
        <p:txBody>
          <a:bodyPr wrap="none" anchor="ctr"/>
          <a:lstStyle/>
          <a:p>
            <a:endParaRPr lang="en-GB" sz="2450" dirty="0">
              <a:latin typeface="+mj-lt"/>
            </a:endParaRPr>
          </a:p>
        </p:txBody>
      </p:sp>
      <p:sp>
        <p:nvSpPr>
          <p:cNvPr id="43" name="Freeform 37">
            <a:extLst>
              <a:ext uri="{FF2B5EF4-FFF2-40B4-BE49-F238E27FC236}">
                <a16:creationId xmlns:a16="http://schemas.microsoft.com/office/drawing/2014/main" xmlns="" id="{E0A4E61F-6DB7-4A39-802B-6211DDF9A02C}"/>
              </a:ext>
            </a:extLst>
          </p:cNvPr>
          <p:cNvSpPr>
            <a:spLocks noChangeArrowheads="1"/>
          </p:cNvSpPr>
          <p:nvPr/>
        </p:nvSpPr>
        <p:spPr bwMode="auto">
          <a:xfrm>
            <a:off x="4480461" y="3197368"/>
            <a:ext cx="889870" cy="897315"/>
          </a:xfrm>
          <a:custGeom>
            <a:avLst/>
            <a:gdLst>
              <a:gd name="T0" fmla="*/ 118 w 3160"/>
              <a:gd name="T1" fmla="*/ 0 h 3189"/>
              <a:gd name="T2" fmla="*/ 118 w 3160"/>
              <a:gd name="T3" fmla="*/ 0 h 3189"/>
              <a:gd name="T4" fmla="*/ 209 w 3160"/>
              <a:gd name="T5" fmla="*/ 747 h 3189"/>
              <a:gd name="T6" fmla="*/ 209 w 3160"/>
              <a:gd name="T7" fmla="*/ 747 h 3189"/>
              <a:gd name="T8" fmla="*/ 2340 w 3160"/>
              <a:gd name="T9" fmla="*/ 853 h 3189"/>
              <a:gd name="T10" fmla="*/ 2340 w 3160"/>
              <a:gd name="T11" fmla="*/ 853 h 3189"/>
              <a:gd name="T12" fmla="*/ 2604 w 3160"/>
              <a:gd name="T13" fmla="*/ 3188 h 3189"/>
              <a:gd name="T14" fmla="*/ 3159 w 3160"/>
              <a:gd name="T15" fmla="*/ 3006 h 3189"/>
              <a:gd name="T16" fmla="*/ 3159 w 3160"/>
              <a:gd name="T17" fmla="*/ 3006 h 3189"/>
              <a:gd name="T18" fmla="*/ 2861 w 3160"/>
              <a:gd name="T19" fmla="*/ 101 h 3189"/>
              <a:gd name="T20" fmla="*/ 118 w 3160"/>
              <a:gd name="T21" fmla="*/ 0 h 3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60" h="3189">
                <a:moveTo>
                  <a:pt x="118" y="0"/>
                </a:moveTo>
                <a:lnTo>
                  <a:pt x="118" y="0"/>
                </a:lnTo>
                <a:cubicBezTo>
                  <a:pt x="0" y="240"/>
                  <a:pt x="13" y="553"/>
                  <a:pt x="209" y="747"/>
                </a:cubicBezTo>
                <a:lnTo>
                  <a:pt x="209" y="747"/>
                </a:lnTo>
                <a:cubicBezTo>
                  <a:pt x="496" y="1029"/>
                  <a:pt x="2340" y="853"/>
                  <a:pt x="2340" y="853"/>
                </a:cubicBezTo>
                <a:lnTo>
                  <a:pt x="2340" y="853"/>
                </a:lnTo>
                <a:cubicBezTo>
                  <a:pt x="2340" y="853"/>
                  <a:pt x="2455" y="2614"/>
                  <a:pt x="2604" y="3188"/>
                </a:cubicBezTo>
                <a:lnTo>
                  <a:pt x="3159" y="3006"/>
                </a:lnTo>
                <a:lnTo>
                  <a:pt x="3159" y="3006"/>
                </a:lnTo>
                <a:cubicBezTo>
                  <a:pt x="3159" y="3006"/>
                  <a:pt x="3068" y="234"/>
                  <a:pt x="2861" y="101"/>
                </a:cubicBezTo>
                <a:lnTo>
                  <a:pt x="118" y="0"/>
                </a:lnTo>
              </a:path>
            </a:pathLst>
          </a:custGeom>
          <a:solidFill>
            <a:schemeClr val="bg1">
              <a:lumMod val="65000"/>
            </a:schemeClr>
          </a:solidFill>
          <a:ln>
            <a:noFill/>
          </a:ln>
          <a:effectLst/>
        </p:spPr>
        <p:txBody>
          <a:bodyPr wrap="none" anchor="ctr"/>
          <a:lstStyle/>
          <a:p>
            <a:endParaRPr lang="en-GB" sz="2450" dirty="0">
              <a:latin typeface="+mj-lt"/>
            </a:endParaRPr>
          </a:p>
        </p:txBody>
      </p:sp>
      <p:grpSp>
        <p:nvGrpSpPr>
          <p:cNvPr id="44" name="Group 56">
            <a:extLst>
              <a:ext uri="{FF2B5EF4-FFF2-40B4-BE49-F238E27FC236}">
                <a16:creationId xmlns:a16="http://schemas.microsoft.com/office/drawing/2014/main" xmlns="" id="{FDD0CC84-0185-41BD-AF5D-85D1BF52840A}"/>
              </a:ext>
            </a:extLst>
          </p:cNvPr>
          <p:cNvGrpSpPr/>
          <p:nvPr/>
        </p:nvGrpSpPr>
        <p:grpSpPr>
          <a:xfrm>
            <a:off x="10104145" y="1981747"/>
            <a:ext cx="1212556" cy="1045006"/>
            <a:chOff x="17261039" y="3816403"/>
            <a:chExt cx="2814057" cy="2425214"/>
          </a:xfrm>
        </p:grpSpPr>
        <p:sp>
          <p:nvSpPr>
            <p:cNvPr id="45" name="Freeform 38">
              <a:extLst>
                <a:ext uri="{FF2B5EF4-FFF2-40B4-BE49-F238E27FC236}">
                  <a16:creationId xmlns:a16="http://schemas.microsoft.com/office/drawing/2014/main" xmlns="" id="{C6FD86D7-430A-4205-B95A-18F503C7476C}"/>
                </a:ext>
              </a:extLst>
            </p:cNvPr>
            <p:cNvSpPr>
              <a:spLocks noChangeArrowheads="1"/>
            </p:cNvSpPr>
            <p:nvPr/>
          </p:nvSpPr>
          <p:spPr bwMode="auto">
            <a:xfrm>
              <a:off x="18986342" y="3853845"/>
              <a:ext cx="1088754" cy="1244291"/>
            </a:xfrm>
            <a:custGeom>
              <a:avLst/>
              <a:gdLst>
                <a:gd name="T0" fmla="*/ 8 w 1666"/>
                <a:gd name="T1" fmla="*/ 1906 h 1907"/>
                <a:gd name="T2" fmla="*/ 8 w 1666"/>
                <a:gd name="T3" fmla="*/ 1906 h 1907"/>
                <a:gd name="T4" fmla="*/ 864 w 1666"/>
                <a:gd name="T5" fmla="*/ 1584 h 1907"/>
                <a:gd name="T6" fmla="*/ 864 w 1666"/>
                <a:gd name="T7" fmla="*/ 1584 h 1907"/>
                <a:gd name="T8" fmla="*/ 1665 w 1666"/>
                <a:gd name="T9" fmla="*/ 0 h 1907"/>
                <a:gd name="T10" fmla="*/ 568 w 1666"/>
                <a:gd name="T11" fmla="*/ 107 h 1907"/>
                <a:gd name="T12" fmla="*/ 568 w 1666"/>
                <a:gd name="T13" fmla="*/ 107 h 1907"/>
                <a:gd name="T14" fmla="*/ 679 w 1666"/>
                <a:gd name="T15" fmla="*/ 428 h 1907"/>
                <a:gd name="T16" fmla="*/ 679 w 1666"/>
                <a:gd name="T17" fmla="*/ 428 h 1907"/>
                <a:gd name="T18" fmla="*/ 796 w 1666"/>
                <a:gd name="T19" fmla="*/ 384 h 1907"/>
                <a:gd name="T20" fmla="*/ 796 w 1666"/>
                <a:gd name="T21" fmla="*/ 384 h 1907"/>
                <a:gd name="T22" fmla="*/ 762 w 1666"/>
                <a:gd name="T23" fmla="*/ 287 h 1907"/>
                <a:gd name="T24" fmla="*/ 762 w 1666"/>
                <a:gd name="T25" fmla="*/ 287 h 1907"/>
                <a:gd name="T26" fmla="*/ 722 w 1666"/>
                <a:gd name="T27" fmla="*/ 255 h 1907"/>
                <a:gd name="T28" fmla="*/ 1471 w 1666"/>
                <a:gd name="T29" fmla="*/ 181 h 1907"/>
                <a:gd name="T30" fmla="*/ 1471 w 1666"/>
                <a:gd name="T31" fmla="*/ 181 h 1907"/>
                <a:gd name="T32" fmla="*/ 1215 w 1666"/>
                <a:gd name="T33" fmla="*/ 895 h 1907"/>
                <a:gd name="T34" fmla="*/ 1215 w 1666"/>
                <a:gd name="T35" fmla="*/ 895 h 1907"/>
                <a:gd name="T36" fmla="*/ 0 w 1666"/>
                <a:gd name="T37" fmla="*/ 1744 h 1907"/>
                <a:gd name="T38" fmla="*/ 8 w 1666"/>
                <a:gd name="T39" fmla="*/ 190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66" h="1907">
                  <a:moveTo>
                    <a:pt x="8" y="1906"/>
                  </a:moveTo>
                  <a:lnTo>
                    <a:pt x="8" y="1906"/>
                  </a:lnTo>
                  <a:cubicBezTo>
                    <a:pt x="330" y="1888"/>
                    <a:pt x="619" y="1779"/>
                    <a:pt x="864" y="1584"/>
                  </a:cubicBezTo>
                  <a:lnTo>
                    <a:pt x="864" y="1584"/>
                  </a:lnTo>
                  <a:cubicBezTo>
                    <a:pt x="1323" y="1220"/>
                    <a:pt x="1583" y="589"/>
                    <a:pt x="1665" y="0"/>
                  </a:cubicBezTo>
                  <a:lnTo>
                    <a:pt x="568" y="107"/>
                  </a:lnTo>
                  <a:lnTo>
                    <a:pt x="568" y="107"/>
                  </a:lnTo>
                  <a:cubicBezTo>
                    <a:pt x="517" y="260"/>
                    <a:pt x="565" y="362"/>
                    <a:pt x="679" y="428"/>
                  </a:cubicBezTo>
                  <a:lnTo>
                    <a:pt x="679" y="428"/>
                  </a:lnTo>
                  <a:cubicBezTo>
                    <a:pt x="723" y="453"/>
                    <a:pt x="780" y="432"/>
                    <a:pt x="796" y="384"/>
                  </a:cubicBezTo>
                  <a:lnTo>
                    <a:pt x="796" y="384"/>
                  </a:lnTo>
                  <a:cubicBezTo>
                    <a:pt x="809" y="348"/>
                    <a:pt x="794" y="308"/>
                    <a:pt x="762" y="287"/>
                  </a:cubicBezTo>
                  <a:lnTo>
                    <a:pt x="762" y="287"/>
                  </a:lnTo>
                  <a:cubicBezTo>
                    <a:pt x="742" y="277"/>
                    <a:pt x="730" y="265"/>
                    <a:pt x="722" y="255"/>
                  </a:cubicBezTo>
                  <a:lnTo>
                    <a:pt x="1471" y="181"/>
                  </a:lnTo>
                  <a:lnTo>
                    <a:pt x="1471" y="181"/>
                  </a:lnTo>
                  <a:cubicBezTo>
                    <a:pt x="1440" y="328"/>
                    <a:pt x="1365" y="611"/>
                    <a:pt x="1215" y="895"/>
                  </a:cubicBezTo>
                  <a:lnTo>
                    <a:pt x="1215" y="895"/>
                  </a:lnTo>
                  <a:cubicBezTo>
                    <a:pt x="931" y="1428"/>
                    <a:pt x="522" y="1714"/>
                    <a:pt x="0" y="1744"/>
                  </a:cubicBezTo>
                  <a:lnTo>
                    <a:pt x="8" y="1906"/>
                  </a:lnTo>
                </a:path>
              </a:pathLst>
            </a:custGeom>
            <a:solidFill>
              <a:srgbClr val="FFAA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6" name="Freeform 39">
              <a:extLst>
                <a:ext uri="{FF2B5EF4-FFF2-40B4-BE49-F238E27FC236}">
                  <a16:creationId xmlns:a16="http://schemas.microsoft.com/office/drawing/2014/main" xmlns="" id="{4C22F661-E79A-47EE-92F5-6BBB6086F8EE}"/>
                </a:ext>
              </a:extLst>
            </p:cNvPr>
            <p:cNvSpPr>
              <a:spLocks noChangeArrowheads="1"/>
            </p:cNvSpPr>
            <p:nvPr/>
          </p:nvSpPr>
          <p:spPr bwMode="auto">
            <a:xfrm>
              <a:off x="17261039" y="3816403"/>
              <a:ext cx="1057072" cy="1275973"/>
            </a:xfrm>
            <a:custGeom>
              <a:avLst/>
              <a:gdLst>
                <a:gd name="T0" fmla="*/ 1602 w 1618"/>
                <a:gd name="T1" fmla="*/ 1951 h 1952"/>
                <a:gd name="T2" fmla="*/ 1602 w 1618"/>
                <a:gd name="T3" fmla="*/ 1951 h 1952"/>
                <a:gd name="T4" fmla="*/ 758 w 1618"/>
                <a:gd name="T5" fmla="*/ 1605 h 1952"/>
                <a:gd name="T6" fmla="*/ 758 w 1618"/>
                <a:gd name="T7" fmla="*/ 1605 h 1952"/>
                <a:gd name="T8" fmla="*/ 0 w 1618"/>
                <a:gd name="T9" fmla="*/ 0 h 1952"/>
                <a:gd name="T10" fmla="*/ 1092 w 1618"/>
                <a:gd name="T11" fmla="*/ 138 h 1952"/>
                <a:gd name="T12" fmla="*/ 1092 w 1618"/>
                <a:gd name="T13" fmla="*/ 138 h 1952"/>
                <a:gd name="T14" fmla="*/ 974 w 1618"/>
                <a:gd name="T15" fmla="*/ 454 h 1952"/>
                <a:gd name="T16" fmla="*/ 974 w 1618"/>
                <a:gd name="T17" fmla="*/ 454 h 1952"/>
                <a:gd name="T18" fmla="*/ 857 w 1618"/>
                <a:gd name="T19" fmla="*/ 407 h 1952"/>
                <a:gd name="T20" fmla="*/ 857 w 1618"/>
                <a:gd name="T21" fmla="*/ 407 h 1952"/>
                <a:gd name="T22" fmla="*/ 894 w 1618"/>
                <a:gd name="T23" fmla="*/ 312 h 1952"/>
                <a:gd name="T24" fmla="*/ 894 w 1618"/>
                <a:gd name="T25" fmla="*/ 312 h 1952"/>
                <a:gd name="T26" fmla="*/ 936 w 1618"/>
                <a:gd name="T27" fmla="*/ 280 h 1952"/>
                <a:gd name="T28" fmla="*/ 189 w 1618"/>
                <a:gd name="T29" fmla="*/ 186 h 1952"/>
                <a:gd name="T30" fmla="*/ 189 w 1618"/>
                <a:gd name="T31" fmla="*/ 186 h 1952"/>
                <a:gd name="T32" fmla="*/ 424 w 1618"/>
                <a:gd name="T33" fmla="*/ 905 h 1952"/>
                <a:gd name="T34" fmla="*/ 424 w 1618"/>
                <a:gd name="T35" fmla="*/ 905 h 1952"/>
                <a:gd name="T36" fmla="*/ 1617 w 1618"/>
                <a:gd name="T37" fmla="*/ 1789 h 1952"/>
                <a:gd name="T38" fmla="*/ 1602 w 1618"/>
                <a:gd name="T39" fmla="*/ 1951 h 1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8" h="1952">
                  <a:moveTo>
                    <a:pt x="1602" y="1951"/>
                  </a:moveTo>
                  <a:lnTo>
                    <a:pt x="1602" y="1951"/>
                  </a:lnTo>
                  <a:cubicBezTo>
                    <a:pt x="1282" y="1924"/>
                    <a:pt x="997" y="1807"/>
                    <a:pt x="758" y="1605"/>
                  </a:cubicBezTo>
                  <a:lnTo>
                    <a:pt x="758" y="1605"/>
                  </a:lnTo>
                  <a:cubicBezTo>
                    <a:pt x="308" y="1227"/>
                    <a:pt x="65" y="591"/>
                    <a:pt x="0" y="0"/>
                  </a:cubicBezTo>
                  <a:lnTo>
                    <a:pt x="1092" y="138"/>
                  </a:lnTo>
                  <a:lnTo>
                    <a:pt x="1092" y="138"/>
                  </a:lnTo>
                  <a:cubicBezTo>
                    <a:pt x="1141" y="292"/>
                    <a:pt x="1088" y="393"/>
                    <a:pt x="974" y="454"/>
                  </a:cubicBezTo>
                  <a:lnTo>
                    <a:pt x="974" y="454"/>
                  </a:lnTo>
                  <a:cubicBezTo>
                    <a:pt x="929" y="478"/>
                    <a:pt x="873" y="455"/>
                    <a:pt x="857" y="407"/>
                  </a:cubicBezTo>
                  <a:lnTo>
                    <a:pt x="857" y="407"/>
                  </a:lnTo>
                  <a:cubicBezTo>
                    <a:pt x="846" y="370"/>
                    <a:pt x="862" y="330"/>
                    <a:pt x="894" y="312"/>
                  </a:cubicBezTo>
                  <a:lnTo>
                    <a:pt x="894" y="312"/>
                  </a:lnTo>
                  <a:cubicBezTo>
                    <a:pt x="914" y="302"/>
                    <a:pt x="927" y="290"/>
                    <a:pt x="936" y="280"/>
                  </a:cubicBezTo>
                  <a:lnTo>
                    <a:pt x="189" y="186"/>
                  </a:lnTo>
                  <a:lnTo>
                    <a:pt x="189" y="186"/>
                  </a:lnTo>
                  <a:cubicBezTo>
                    <a:pt x="215" y="333"/>
                    <a:pt x="282" y="618"/>
                    <a:pt x="424" y="905"/>
                  </a:cubicBezTo>
                  <a:lnTo>
                    <a:pt x="424" y="905"/>
                  </a:lnTo>
                  <a:cubicBezTo>
                    <a:pt x="694" y="1447"/>
                    <a:pt x="1095" y="1744"/>
                    <a:pt x="1617" y="1789"/>
                  </a:cubicBezTo>
                  <a:lnTo>
                    <a:pt x="1602" y="1951"/>
                  </a:lnTo>
                </a:path>
              </a:pathLst>
            </a:custGeom>
            <a:solidFill>
              <a:srgbClr val="FFAA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7" name="Freeform 40">
              <a:extLst>
                <a:ext uri="{FF2B5EF4-FFF2-40B4-BE49-F238E27FC236}">
                  <a16:creationId xmlns:a16="http://schemas.microsoft.com/office/drawing/2014/main" xmlns="" id="{37848C73-B2AA-48F6-BB74-01F07CD2FBE2}"/>
                </a:ext>
              </a:extLst>
            </p:cNvPr>
            <p:cNvSpPr>
              <a:spLocks noChangeArrowheads="1"/>
            </p:cNvSpPr>
            <p:nvPr/>
          </p:nvSpPr>
          <p:spPr bwMode="auto">
            <a:xfrm>
              <a:off x="18418920" y="5201827"/>
              <a:ext cx="429166" cy="1036909"/>
            </a:xfrm>
            <a:custGeom>
              <a:avLst/>
              <a:gdLst>
                <a:gd name="T0" fmla="*/ 0 w 659"/>
                <a:gd name="T1" fmla="*/ 1577 h 1588"/>
                <a:gd name="T2" fmla="*/ 658 w 659"/>
                <a:gd name="T3" fmla="*/ 1587 h 1588"/>
                <a:gd name="T4" fmla="*/ 544 w 659"/>
                <a:gd name="T5" fmla="*/ 4 h 1588"/>
                <a:gd name="T6" fmla="*/ 156 w 659"/>
                <a:gd name="T7" fmla="*/ 0 h 1588"/>
                <a:gd name="T8" fmla="*/ 1 w 659"/>
                <a:gd name="T9" fmla="*/ 1575 h 1588"/>
                <a:gd name="T10" fmla="*/ 0 w 659"/>
                <a:gd name="T11" fmla="*/ 1577 h 1588"/>
              </a:gdLst>
              <a:ahLst/>
              <a:cxnLst>
                <a:cxn ang="0">
                  <a:pos x="T0" y="T1"/>
                </a:cxn>
                <a:cxn ang="0">
                  <a:pos x="T2" y="T3"/>
                </a:cxn>
                <a:cxn ang="0">
                  <a:pos x="T4" y="T5"/>
                </a:cxn>
                <a:cxn ang="0">
                  <a:pos x="T6" y="T7"/>
                </a:cxn>
                <a:cxn ang="0">
                  <a:pos x="T8" y="T9"/>
                </a:cxn>
                <a:cxn ang="0">
                  <a:pos x="T10" y="T11"/>
                </a:cxn>
              </a:cxnLst>
              <a:rect l="0" t="0" r="r" b="b"/>
              <a:pathLst>
                <a:path w="659" h="1588">
                  <a:moveTo>
                    <a:pt x="0" y="1577"/>
                  </a:moveTo>
                  <a:lnTo>
                    <a:pt x="658" y="1587"/>
                  </a:lnTo>
                  <a:lnTo>
                    <a:pt x="544" y="4"/>
                  </a:lnTo>
                  <a:lnTo>
                    <a:pt x="156" y="0"/>
                  </a:lnTo>
                  <a:lnTo>
                    <a:pt x="1" y="1575"/>
                  </a:lnTo>
                  <a:lnTo>
                    <a:pt x="0" y="1577"/>
                  </a:lnTo>
                </a:path>
              </a:pathLst>
            </a:custGeom>
            <a:solidFill>
              <a:srgbClr val="FCC20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8" name="Freeform 41">
              <a:extLst>
                <a:ext uri="{FF2B5EF4-FFF2-40B4-BE49-F238E27FC236}">
                  <a16:creationId xmlns:a16="http://schemas.microsoft.com/office/drawing/2014/main" xmlns="" id="{9CE261DA-CE59-4FB5-935F-B3974EB66649}"/>
                </a:ext>
              </a:extLst>
            </p:cNvPr>
            <p:cNvSpPr>
              <a:spLocks noChangeArrowheads="1"/>
            </p:cNvSpPr>
            <p:nvPr/>
          </p:nvSpPr>
          <p:spPr bwMode="auto">
            <a:xfrm>
              <a:off x="18418920" y="5201828"/>
              <a:ext cx="230424" cy="1031148"/>
            </a:xfrm>
            <a:custGeom>
              <a:avLst/>
              <a:gdLst>
                <a:gd name="T0" fmla="*/ 0 w 354"/>
                <a:gd name="T1" fmla="*/ 1575 h 1580"/>
                <a:gd name="T2" fmla="*/ 332 w 354"/>
                <a:gd name="T3" fmla="*/ 1579 h 1580"/>
                <a:gd name="T4" fmla="*/ 353 w 354"/>
                <a:gd name="T5" fmla="*/ 1 h 1580"/>
                <a:gd name="T6" fmla="*/ 156 w 354"/>
                <a:gd name="T7" fmla="*/ 0 h 1580"/>
                <a:gd name="T8" fmla="*/ 0 w 354"/>
                <a:gd name="T9" fmla="*/ 1575 h 1580"/>
              </a:gdLst>
              <a:ahLst/>
              <a:cxnLst>
                <a:cxn ang="0">
                  <a:pos x="T0" y="T1"/>
                </a:cxn>
                <a:cxn ang="0">
                  <a:pos x="T2" y="T3"/>
                </a:cxn>
                <a:cxn ang="0">
                  <a:pos x="T4" y="T5"/>
                </a:cxn>
                <a:cxn ang="0">
                  <a:pos x="T6" y="T7"/>
                </a:cxn>
                <a:cxn ang="0">
                  <a:pos x="T8" y="T9"/>
                </a:cxn>
              </a:cxnLst>
              <a:rect l="0" t="0" r="r" b="b"/>
              <a:pathLst>
                <a:path w="354" h="1580">
                  <a:moveTo>
                    <a:pt x="0" y="1575"/>
                  </a:moveTo>
                  <a:lnTo>
                    <a:pt x="332" y="1579"/>
                  </a:lnTo>
                  <a:lnTo>
                    <a:pt x="353" y="1"/>
                  </a:lnTo>
                  <a:lnTo>
                    <a:pt x="156" y="0"/>
                  </a:lnTo>
                  <a:lnTo>
                    <a:pt x="0" y="1575"/>
                  </a:lnTo>
                </a:path>
              </a:pathLst>
            </a:custGeom>
            <a:solidFill>
              <a:srgbClr val="FF97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9" name="Freeform 42">
              <a:extLst>
                <a:ext uri="{FF2B5EF4-FFF2-40B4-BE49-F238E27FC236}">
                  <a16:creationId xmlns:a16="http://schemas.microsoft.com/office/drawing/2014/main" xmlns="" id="{5B62F369-2164-4179-AD4E-9A78C2E8D4D0}"/>
                </a:ext>
              </a:extLst>
            </p:cNvPr>
            <p:cNvSpPr>
              <a:spLocks noChangeArrowheads="1"/>
            </p:cNvSpPr>
            <p:nvPr/>
          </p:nvSpPr>
          <p:spPr bwMode="auto">
            <a:xfrm>
              <a:off x="18280667" y="6103362"/>
              <a:ext cx="708554" cy="138255"/>
            </a:xfrm>
            <a:custGeom>
              <a:avLst/>
              <a:gdLst>
                <a:gd name="T0" fmla="*/ 97 w 1085"/>
                <a:gd name="T1" fmla="*/ 197 h 210"/>
                <a:gd name="T2" fmla="*/ 986 w 1085"/>
                <a:gd name="T3" fmla="*/ 208 h 210"/>
                <a:gd name="T4" fmla="*/ 986 w 1085"/>
                <a:gd name="T5" fmla="*/ 208 h 210"/>
                <a:gd name="T6" fmla="*/ 1084 w 1085"/>
                <a:gd name="T7" fmla="*/ 112 h 210"/>
                <a:gd name="T8" fmla="*/ 1084 w 1085"/>
                <a:gd name="T9" fmla="*/ 14 h 210"/>
                <a:gd name="T10" fmla="*/ 3 w 1085"/>
                <a:gd name="T11" fmla="*/ 0 h 210"/>
                <a:gd name="T12" fmla="*/ 1 w 1085"/>
                <a:gd name="T13" fmla="*/ 98 h 210"/>
                <a:gd name="T14" fmla="*/ 1 w 1085"/>
                <a:gd name="T15" fmla="*/ 98 h 210"/>
                <a:gd name="T16" fmla="*/ 97 w 1085"/>
                <a:gd name="T17" fmla="*/ 19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5" h="210">
                  <a:moveTo>
                    <a:pt x="97" y="197"/>
                  </a:moveTo>
                  <a:lnTo>
                    <a:pt x="986" y="208"/>
                  </a:lnTo>
                  <a:lnTo>
                    <a:pt x="986" y="208"/>
                  </a:lnTo>
                  <a:cubicBezTo>
                    <a:pt x="1040" y="209"/>
                    <a:pt x="1082" y="167"/>
                    <a:pt x="1084" y="112"/>
                  </a:cubicBezTo>
                  <a:lnTo>
                    <a:pt x="1084" y="14"/>
                  </a:lnTo>
                  <a:lnTo>
                    <a:pt x="3" y="0"/>
                  </a:lnTo>
                  <a:lnTo>
                    <a:pt x="1" y="98"/>
                  </a:lnTo>
                  <a:lnTo>
                    <a:pt x="1" y="98"/>
                  </a:lnTo>
                  <a:cubicBezTo>
                    <a:pt x="0" y="151"/>
                    <a:pt x="43" y="195"/>
                    <a:pt x="97" y="197"/>
                  </a:cubicBezTo>
                </a:path>
              </a:pathLst>
            </a:custGeom>
            <a:solidFill>
              <a:srgbClr val="F9A30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0" name="Freeform 43">
              <a:extLst>
                <a:ext uri="{FF2B5EF4-FFF2-40B4-BE49-F238E27FC236}">
                  <a16:creationId xmlns:a16="http://schemas.microsoft.com/office/drawing/2014/main" xmlns="" id="{75CB8879-F90B-47B3-A06E-58D87C750F8A}"/>
                </a:ext>
              </a:extLst>
            </p:cNvPr>
            <p:cNvSpPr>
              <a:spLocks noChangeArrowheads="1"/>
            </p:cNvSpPr>
            <p:nvPr/>
          </p:nvSpPr>
          <p:spPr bwMode="auto">
            <a:xfrm>
              <a:off x="18280665" y="5979510"/>
              <a:ext cx="705675" cy="132494"/>
            </a:xfrm>
            <a:custGeom>
              <a:avLst/>
              <a:gdLst>
                <a:gd name="T0" fmla="*/ 0 w 1082"/>
                <a:gd name="T1" fmla="*/ 189 h 204"/>
                <a:gd name="T2" fmla="*/ 1081 w 1082"/>
                <a:gd name="T3" fmla="*/ 203 h 204"/>
                <a:gd name="T4" fmla="*/ 829 w 1082"/>
                <a:gd name="T5" fmla="*/ 8 h 204"/>
                <a:gd name="T6" fmla="*/ 238 w 1082"/>
                <a:gd name="T7" fmla="*/ 0 h 204"/>
                <a:gd name="T8" fmla="*/ 0 w 1082"/>
                <a:gd name="T9" fmla="*/ 189 h 204"/>
              </a:gdLst>
              <a:ahLst/>
              <a:cxnLst>
                <a:cxn ang="0">
                  <a:pos x="T0" y="T1"/>
                </a:cxn>
                <a:cxn ang="0">
                  <a:pos x="T2" y="T3"/>
                </a:cxn>
                <a:cxn ang="0">
                  <a:pos x="T4" y="T5"/>
                </a:cxn>
                <a:cxn ang="0">
                  <a:pos x="T6" y="T7"/>
                </a:cxn>
                <a:cxn ang="0">
                  <a:pos x="T8" y="T9"/>
                </a:cxn>
              </a:cxnLst>
              <a:rect l="0" t="0" r="r" b="b"/>
              <a:pathLst>
                <a:path w="1082" h="204">
                  <a:moveTo>
                    <a:pt x="0" y="189"/>
                  </a:moveTo>
                  <a:lnTo>
                    <a:pt x="1081" y="203"/>
                  </a:lnTo>
                  <a:lnTo>
                    <a:pt x="829" y="8"/>
                  </a:lnTo>
                  <a:lnTo>
                    <a:pt x="238" y="0"/>
                  </a:lnTo>
                  <a:lnTo>
                    <a:pt x="0" y="189"/>
                  </a:lnTo>
                </a:path>
              </a:pathLst>
            </a:custGeom>
            <a:solidFill>
              <a:srgbClr val="F5E21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1" name="Freeform 44">
              <a:extLst>
                <a:ext uri="{FF2B5EF4-FFF2-40B4-BE49-F238E27FC236}">
                  <a16:creationId xmlns:a16="http://schemas.microsoft.com/office/drawing/2014/main" xmlns="" id="{842ED4F6-9AAF-4CAA-997B-961D8CEFAE67}"/>
                </a:ext>
              </a:extLst>
            </p:cNvPr>
            <p:cNvSpPr>
              <a:spLocks noChangeArrowheads="1"/>
            </p:cNvSpPr>
            <p:nvPr/>
          </p:nvSpPr>
          <p:spPr bwMode="auto">
            <a:xfrm>
              <a:off x="17906226" y="3819282"/>
              <a:ext cx="1520800" cy="288030"/>
            </a:xfrm>
            <a:custGeom>
              <a:avLst/>
              <a:gdLst>
                <a:gd name="T0" fmla="*/ 6 w 2327"/>
                <a:gd name="T1" fmla="*/ 0 h 443"/>
                <a:gd name="T2" fmla="*/ 2326 w 2327"/>
                <a:gd name="T3" fmla="*/ 32 h 443"/>
                <a:gd name="T4" fmla="*/ 2320 w 2327"/>
                <a:gd name="T5" fmla="*/ 442 h 443"/>
                <a:gd name="T6" fmla="*/ 0 w 2327"/>
                <a:gd name="T7" fmla="*/ 411 h 443"/>
                <a:gd name="T8" fmla="*/ 6 w 2327"/>
                <a:gd name="T9" fmla="*/ 0 h 443"/>
              </a:gdLst>
              <a:ahLst/>
              <a:cxnLst>
                <a:cxn ang="0">
                  <a:pos x="T0" y="T1"/>
                </a:cxn>
                <a:cxn ang="0">
                  <a:pos x="T2" y="T3"/>
                </a:cxn>
                <a:cxn ang="0">
                  <a:pos x="T4" y="T5"/>
                </a:cxn>
                <a:cxn ang="0">
                  <a:pos x="T6" y="T7"/>
                </a:cxn>
                <a:cxn ang="0">
                  <a:pos x="T8" y="T9"/>
                </a:cxn>
              </a:cxnLst>
              <a:rect l="0" t="0" r="r" b="b"/>
              <a:pathLst>
                <a:path w="2327" h="443">
                  <a:moveTo>
                    <a:pt x="6" y="0"/>
                  </a:moveTo>
                  <a:lnTo>
                    <a:pt x="2326" y="32"/>
                  </a:lnTo>
                  <a:lnTo>
                    <a:pt x="2320" y="442"/>
                  </a:lnTo>
                  <a:lnTo>
                    <a:pt x="0" y="411"/>
                  </a:lnTo>
                  <a:lnTo>
                    <a:pt x="6" y="0"/>
                  </a:lnTo>
                </a:path>
              </a:pathLst>
            </a:custGeom>
            <a:solidFill>
              <a:srgbClr val="FFC2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2" name="Freeform 45">
              <a:extLst>
                <a:ext uri="{FF2B5EF4-FFF2-40B4-BE49-F238E27FC236}">
                  <a16:creationId xmlns:a16="http://schemas.microsoft.com/office/drawing/2014/main" xmlns="" id="{2A250E1E-36B4-43F4-B75F-811DB5304763}"/>
                </a:ext>
              </a:extLst>
            </p:cNvPr>
            <p:cNvSpPr>
              <a:spLocks noChangeArrowheads="1"/>
            </p:cNvSpPr>
            <p:nvPr/>
          </p:nvSpPr>
          <p:spPr bwMode="auto">
            <a:xfrm>
              <a:off x="18678147" y="4098672"/>
              <a:ext cx="740239" cy="1080112"/>
            </a:xfrm>
            <a:custGeom>
              <a:avLst/>
              <a:gdLst>
                <a:gd name="T0" fmla="*/ 25 w 1135"/>
                <a:gd name="T1" fmla="*/ 0 h 1654"/>
                <a:gd name="T2" fmla="*/ 0 w 1135"/>
                <a:gd name="T3" fmla="*/ 1648 h 1654"/>
                <a:gd name="T4" fmla="*/ 351 w 1135"/>
                <a:gd name="T5" fmla="*/ 1653 h 1654"/>
                <a:gd name="T6" fmla="*/ 351 w 1135"/>
                <a:gd name="T7" fmla="*/ 1653 h 1654"/>
                <a:gd name="T8" fmla="*/ 1134 w 1135"/>
                <a:gd name="T9" fmla="*/ 14 h 1654"/>
                <a:gd name="T10" fmla="*/ 25 w 1135"/>
                <a:gd name="T11" fmla="*/ 0 h 1654"/>
              </a:gdLst>
              <a:ahLst/>
              <a:cxnLst>
                <a:cxn ang="0">
                  <a:pos x="T0" y="T1"/>
                </a:cxn>
                <a:cxn ang="0">
                  <a:pos x="T2" y="T3"/>
                </a:cxn>
                <a:cxn ang="0">
                  <a:pos x="T4" y="T5"/>
                </a:cxn>
                <a:cxn ang="0">
                  <a:pos x="T6" y="T7"/>
                </a:cxn>
                <a:cxn ang="0">
                  <a:pos x="T8" y="T9"/>
                </a:cxn>
                <a:cxn ang="0">
                  <a:pos x="T10" y="T11"/>
                </a:cxn>
              </a:cxnLst>
              <a:rect l="0" t="0" r="r" b="b"/>
              <a:pathLst>
                <a:path w="1135" h="1654">
                  <a:moveTo>
                    <a:pt x="25" y="0"/>
                  </a:moveTo>
                  <a:lnTo>
                    <a:pt x="0" y="1648"/>
                  </a:lnTo>
                  <a:lnTo>
                    <a:pt x="351" y="1653"/>
                  </a:lnTo>
                  <a:lnTo>
                    <a:pt x="351" y="1653"/>
                  </a:lnTo>
                  <a:cubicBezTo>
                    <a:pt x="774" y="1408"/>
                    <a:pt x="1090" y="776"/>
                    <a:pt x="1134" y="14"/>
                  </a:cubicBezTo>
                  <a:lnTo>
                    <a:pt x="25" y="0"/>
                  </a:lnTo>
                </a:path>
              </a:pathLst>
            </a:custGeom>
            <a:solidFill>
              <a:srgbClr val="FFC7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3" name="Freeform 46">
              <a:extLst>
                <a:ext uri="{FF2B5EF4-FFF2-40B4-BE49-F238E27FC236}">
                  <a16:creationId xmlns:a16="http://schemas.microsoft.com/office/drawing/2014/main" xmlns="" id="{7987F11C-9288-4484-A759-1A4CF301DF2E}"/>
                </a:ext>
              </a:extLst>
            </p:cNvPr>
            <p:cNvSpPr>
              <a:spLocks noChangeArrowheads="1"/>
            </p:cNvSpPr>
            <p:nvPr/>
          </p:nvSpPr>
          <p:spPr bwMode="auto">
            <a:xfrm>
              <a:off x="17906227" y="4087152"/>
              <a:ext cx="792084" cy="1088754"/>
            </a:xfrm>
            <a:custGeom>
              <a:avLst/>
              <a:gdLst>
                <a:gd name="T0" fmla="*/ 0 w 1212"/>
                <a:gd name="T1" fmla="*/ 0 h 1666"/>
                <a:gd name="T2" fmla="*/ 0 w 1212"/>
                <a:gd name="T3" fmla="*/ 0 h 1666"/>
                <a:gd name="T4" fmla="*/ 738 w 1212"/>
                <a:gd name="T5" fmla="*/ 1659 h 1666"/>
                <a:gd name="T6" fmla="*/ 1186 w 1212"/>
                <a:gd name="T7" fmla="*/ 1665 h 1666"/>
                <a:gd name="T8" fmla="*/ 1211 w 1212"/>
                <a:gd name="T9" fmla="*/ 17 h 1666"/>
                <a:gd name="T10" fmla="*/ 0 w 1212"/>
                <a:gd name="T11" fmla="*/ 0 h 1666"/>
              </a:gdLst>
              <a:ahLst/>
              <a:cxnLst>
                <a:cxn ang="0">
                  <a:pos x="T0" y="T1"/>
                </a:cxn>
                <a:cxn ang="0">
                  <a:pos x="T2" y="T3"/>
                </a:cxn>
                <a:cxn ang="0">
                  <a:pos x="T4" y="T5"/>
                </a:cxn>
                <a:cxn ang="0">
                  <a:pos x="T6" y="T7"/>
                </a:cxn>
                <a:cxn ang="0">
                  <a:pos x="T8" y="T9"/>
                </a:cxn>
                <a:cxn ang="0">
                  <a:pos x="T10" y="T11"/>
                </a:cxn>
              </a:cxnLst>
              <a:rect l="0" t="0" r="r" b="b"/>
              <a:pathLst>
                <a:path w="1212" h="1666">
                  <a:moveTo>
                    <a:pt x="0" y="0"/>
                  </a:moveTo>
                  <a:lnTo>
                    <a:pt x="0" y="0"/>
                  </a:lnTo>
                  <a:cubicBezTo>
                    <a:pt x="23" y="762"/>
                    <a:pt x="322" y="1402"/>
                    <a:pt x="738" y="1659"/>
                  </a:cubicBezTo>
                  <a:lnTo>
                    <a:pt x="1186" y="1665"/>
                  </a:lnTo>
                  <a:lnTo>
                    <a:pt x="1211" y="17"/>
                  </a:lnTo>
                  <a:lnTo>
                    <a:pt x="0" y="0"/>
                  </a:lnTo>
                </a:path>
              </a:pathLst>
            </a:custGeom>
            <a:solidFill>
              <a:srgbClr val="FFAA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4" name="Freeform 47">
              <a:extLst>
                <a:ext uri="{FF2B5EF4-FFF2-40B4-BE49-F238E27FC236}">
                  <a16:creationId xmlns:a16="http://schemas.microsoft.com/office/drawing/2014/main" xmlns="" id="{648DAD36-4851-465D-B664-1FDCE4591FB8}"/>
                </a:ext>
              </a:extLst>
            </p:cNvPr>
            <p:cNvSpPr>
              <a:spLocks noChangeArrowheads="1"/>
            </p:cNvSpPr>
            <p:nvPr/>
          </p:nvSpPr>
          <p:spPr bwMode="auto">
            <a:xfrm>
              <a:off x="19087150" y="4254209"/>
              <a:ext cx="129615" cy="132494"/>
            </a:xfrm>
            <a:custGeom>
              <a:avLst/>
              <a:gdLst>
                <a:gd name="T0" fmla="*/ 0 w 200"/>
                <a:gd name="T1" fmla="*/ 99 h 201"/>
                <a:gd name="T2" fmla="*/ 0 w 200"/>
                <a:gd name="T3" fmla="*/ 99 h 201"/>
                <a:gd name="T4" fmla="*/ 98 w 200"/>
                <a:gd name="T5" fmla="*/ 198 h 201"/>
                <a:gd name="T6" fmla="*/ 98 w 200"/>
                <a:gd name="T7" fmla="*/ 198 h 201"/>
                <a:gd name="T8" fmla="*/ 198 w 200"/>
                <a:gd name="T9" fmla="*/ 102 h 201"/>
                <a:gd name="T10" fmla="*/ 198 w 200"/>
                <a:gd name="T11" fmla="*/ 102 h 201"/>
                <a:gd name="T12" fmla="*/ 101 w 200"/>
                <a:gd name="T13" fmla="*/ 0 h 201"/>
                <a:gd name="T14" fmla="*/ 101 w 200"/>
                <a:gd name="T15" fmla="*/ 0 h 201"/>
                <a:gd name="T16" fmla="*/ 0 w 200"/>
                <a:gd name="T17" fmla="*/ 9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1">
                  <a:moveTo>
                    <a:pt x="0" y="99"/>
                  </a:moveTo>
                  <a:lnTo>
                    <a:pt x="0" y="99"/>
                  </a:lnTo>
                  <a:cubicBezTo>
                    <a:pt x="0" y="154"/>
                    <a:pt x="44" y="198"/>
                    <a:pt x="98" y="198"/>
                  </a:cubicBezTo>
                  <a:lnTo>
                    <a:pt x="98" y="198"/>
                  </a:lnTo>
                  <a:cubicBezTo>
                    <a:pt x="154" y="200"/>
                    <a:pt x="198" y="157"/>
                    <a:pt x="198" y="102"/>
                  </a:cubicBezTo>
                  <a:lnTo>
                    <a:pt x="198" y="102"/>
                  </a:lnTo>
                  <a:cubicBezTo>
                    <a:pt x="199" y="47"/>
                    <a:pt x="155" y="2"/>
                    <a:pt x="101" y="0"/>
                  </a:cubicBezTo>
                  <a:lnTo>
                    <a:pt x="101" y="0"/>
                  </a:lnTo>
                  <a:cubicBezTo>
                    <a:pt x="45" y="0"/>
                    <a:pt x="1" y="45"/>
                    <a:pt x="0" y="9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5" name="Freeform 48">
              <a:extLst>
                <a:ext uri="{FF2B5EF4-FFF2-40B4-BE49-F238E27FC236}">
                  <a16:creationId xmlns:a16="http://schemas.microsoft.com/office/drawing/2014/main" xmlns="" id="{F7A9FA18-8760-4126-9FE5-FA763E4BC2BC}"/>
                </a:ext>
              </a:extLst>
            </p:cNvPr>
            <p:cNvSpPr>
              <a:spLocks noChangeArrowheads="1"/>
            </p:cNvSpPr>
            <p:nvPr/>
          </p:nvSpPr>
          <p:spPr bwMode="auto">
            <a:xfrm>
              <a:off x="18269145" y="5170145"/>
              <a:ext cx="754639" cy="198740"/>
            </a:xfrm>
            <a:custGeom>
              <a:avLst/>
              <a:gdLst>
                <a:gd name="T0" fmla="*/ 1 w 1157"/>
                <a:gd name="T1" fmla="*/ 187 h 305"/>
                <a:gd name="T2" fmla="*/ 1 w 1157"/>
                <a:gd name="T3" fmla="*/ 187 h 305"/>
                <a:gd name="T4" fmla="*/ 101 w 1157"/>
                <a:gd name="T5" fmla="*/ 290 h 305"/>
                <a:gd name="T6" fmla="*/ 1051 w 1157"/>
                <a:gd name="T7" fmla="*/ 304 h 305"/>
                <a:gd name="T8" fmla="*/ 1051 w 1157"/>
                <a:gd name="T9" fmla="*/ 304 h 305"/>
                <a:gd name="T10" fmla="*/ 1155 w 1157"/>
                <a:gd name="T11" fmla="*/ 203 h 305"/>
                <a:gd name="T12" fmla="*/ 1156 w 1157"/>
                <a:gd name="T13" fmla="*/ 117 h 305"/>
                <a:gd name="T14" fmla="*/ 1156 w 1157"/>
                <a:gd name="T15" fmla="*/ 117 h 305"/>
                <a:gd name="T16" fmla="*/ 1055 w 1157"/>
                <a:gd name="T17" fmla="*/ 15 h 305"/>
                <a:gd name="T18" fmla="*/ 105 w 1157"/>
                <a:gd name="T19" fmla="*/ 2 h 305"/>
                <a:gd name="T20" fmla="*/ 105 w 1157"/>
                <a:gd name="T21" fmla="*/ 2 h 305"/>
                <a:gd name="T22" fmla="*/ 1 w 1157"/>
                <a:gd name="T23" fmla="*/ 102 h 305"/>
                <a:gd name="T24" fmla="*/ 1 w 1157"/>
                <a:gd name="T25" fmla="*/ 187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7" h="305">
                  <a:moveTo>
                    <a:pt x="1" y="187"/>
                  </a:moveTo>
                  <a:lnTo>
                    <a:pt x="1" y="187"/>
                  </a:lnTo>
                  <a:cubicBezTo>
                    <a:pt x="0" y="244"/>
                    <a:pt x="45" y="290"/>
                    <a:pt x="101" y="290"/>
                  </a:cubicBezTo>
                  <a:lnTo>
                    <a:pt x="1051" y="304"/>
                  </a:lnTo>
                  <a:lnTo>
                    <a:pt x="1051" y="304"/>
                  </a:lnTo>
                  <a:cubicBezTo>
                    <a:pt x="1108" y="304"/>
                    <a:pt x="1154" y="260"/>
                    <a:pt x="1155" y="203"/>
                  </a:cubicBezTo>
                  <a:lnTo>
                    <a:pt x="1156" y="117"/>
                  </a:lnTo>
                  <a:lnTo>
                    <a:pt x="1156" y="117"/>
                  </a:lnTo>
                  <a:cubicBezTo>
                    <a:pt x="1156" y="62"/>
                    <a:pt x="1111" y="15"/>
                    <a:pt x="1055" y="15"/>
                  </a:cubicBezTo>
                  <a:lnTo>
                    <a:pt x="105" y="2"/>
                  </a:lnTo>
                  <a:lnTo>
                    <a:pt x="105" y="2"/>
                  </a:lnTo>
                  <a:cubicBezTo>
                    <a:pt x="48" y="0"/>
                    <a:pt x="3" y="46"/>
                    <a:pt x="1" y="102"/>
                  </a:cubicBezTo>
                  <a:lnTo>
                    <a:pt x="1" y="187"/>
                  </a:lnTo>
                </a:path>
              </a:pathLst>
            </a:custGeom>
            <a:solidFill>
              <a:srgbClr val="FFC2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grpSp>
      <p:sp>
        <p:nvSpPr>
          <p:cNvPr id="56" name="Freeform 49">
            <a:extLst>
              <a:ext uri="{FF2B5EF4-FFF2-40B4-BE49-F238E27FC236}">
                <a16:creationId xmlns:a16="http://schemas.microsoft.com/office/drawing/2014/main" xmlns="" id="{79BBDD8D-0397-4FD9-9C81-0462E5BD6DFB}"/>
              </a:ext>
            </a:extLst>
          </p:cNvPr>
          <p:cNvSpPr>
            <a:spLocks noChangeArrowheads="1"/>
          </p:cNvSpPr>
          <p:nvPr/>
        </p:nvSpPr>
        <p:spPr bwMode="auto">
          <a:xfrm>
            <a:off x="8179631" y="2249826"/>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3"/>
          </a:solidFill>
          <a:ln>
            <a:noFill/>
          </a:ln>
          <a:effectLst/>
        </p:spPr>
        <p:txBody>
          <a:bodyPr wrap="none" anchor="ctr"/>
          <a:lstStyle/>
          <a:p>
            <a:endParaRPr lang="en-GB" sz="2450" dirty="0">
              <a:latin typeface="+mj-lt"/>
            </a:endParaRPr>
          </a:p>
        </p:txBody>
      </p:sp>
      <p:sp>
        <p:nvSpPr>
          <p:cNvPr id="57" name="Freeform 50">
            <a:extLst>
              <a:ext uri="{FF2B5EF4-FFF2-40B4-BE49-F238E27FC236}">
                <a16:creationId xmlns:a16="http://schemas.microsoft.com/office/drawing/2014/main" xmlns="" id="{F40AE6CA-518F-41EB-8602-8269273ABB21}"/>
              </a:ext>
            </a:extLst>
          </p:cNvPr>
          <p:cNvSpPr>
            <a:spLocks noChangeArrowheads="1"/>
          </p:cNvSpPr>
          <p:nvPr/>
        </p:nvSpPr>
        <p:spPr bwMode="auto">
          <a:xfrm>
            <a:off x="9117144" y="2249826"/>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chemeClr val="accent4"/>
          </a:solidFill>
          <a:ln>
            <a:noFill/>
          </a:ln>
          <a:effectLst/>
        </p:spPr>
        <p:txBody>
          <a:bodyPr wrap="none" anchor="ctr"/>
          <a:lstStyle/>
          <a:p>
            <a:endParaRPr lang="en-GB" sz="2450" dirty="0">
              <a:latin typeface="+mj-lt"/>
            </a:endParaRPr>
          </a:p>
        </p:txBody>
      </p:sp>
      <p:sp>
        <p:nvSpPr>
          <p:cNvPr id="58" name="Freeform 51">
            <a:extLst>
              <a:ext uri="{FF2B5EF4-FFF2-40B4-BE49-F238E27FC236}">
                <a16:creationId xmlns:a16="http://schemas.microsoft.com/office/drawing/2014/main" xmlns="" id="{AD44149D-D4FA-4264-A2F9-C328946F230A}"/>
              </a:ext>
            </a:extLst>
          </p:cNvPr>
          <p:cNvSpPr>
            <a:spLocks noChangeArrowheads="1"/>
          </p:cNvSpPr>
          <p:nvPr/>
        </p:nvSpPr>
        <p:spPr bwMode="auto">
          <a:xfrm>
            <a:off x="7242118" y="2249826"/>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2"/>
          </a:solidFill>
          <a:ln>
            <a:noFill/>
          </a:ln>
          <a:effectLst/>
        </p:spPr>
        <p:txBody>
          <a:bodyPr wrap="none" anchor="ctr"/>
          <a:lstStyle/>
          <a:p>
            <a:endParaRPr lang="en-GB" sz="2450" dirty="0">
              <a:latin typeface="+mj-lt"/>
            </a:endParaRPr>
          </a:p>
        </p:txBody>
      </p:sp>
      <p:sp>
        <p:nvSpPr>
          <p:cNvPr id="59" name="Freeform 52">
            <a:extLst>
              <a:ext uri="{FF2B5EF4-FFF2-40B4-BE49-F238E27FC236}">
                <a16:creationId xmlns:a16="http://schemas.microsoft.com/office/drawing/2014/main" xmlns="" id="{F30410A3-6B13-465A-B39F-79BD0B16525A}"/>
              </a:ext>
            </a:extLst>
          </p:cNvPr>
          <p:cNvSpPr>
            <a:spLocks noChangeArrowheads="1"/>
          </p:cNvSpPr>
          <p:nvPr/>
        </p:nvSpPr>
        <p:spPr bwMode="auto">
          <a:xfrm>
            <a:off x="6304131" y="2249826"/>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chemeClr val="accent1"/>
          </a:solidFill>
          <a:ln>
            <a:noFill/>
          </a:ln>
          <a:effectLst/>
        </p:spPr>
        <p:txBody>
          <a:bodyPr wrap="none" anchor="ctr"/>
          <a:lstStyle/>
          <a:p>
            <a:endParaRPr lang="en-GB" sz="2450" dirty="0">
              <a:latin typeface="+mj-lt"/>
            </a:endParaRPr>
          </a:p>
        </p:txBody>
      </p:sp>
      <p:sp>
        <p:nvSpPr>
          <p:cNvPr id="60" name="L-Shape 58">
            <a:extLst>
              <a:ext uri="{FF2B5EF4-FFF2-40B4-BE49-F238E27FC236}">
                <a16:creationId xmlns:a16="http://schemas.microsoft.com/office/drawing/2014/main" xmlns="" id="{42E68939-21E1-4830-B03F-2BE91543B9CF}"/>
              </a:ext>
            </a:extLst>
          </p:cNvPr>
          <p:cNvSpPr/>
          <p:nvPr/>
        </p:nvSpPr>
        <p:spPr>
          <a:xfrm rot="10800000" flipH="1">
            <a:off x="3423679" y="4546908"/>
            <a:ext cx="1471555" cy="858841"/>
          </a:xfrm>
          <a:prstGeom prst="corner">
            <a:avLst>
              <a:gd name="adj1" fmla="val 17009"/>
              <a:gd name="adj2" fmla="val 166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1" name="L-Shape 59">
            <a:extLst>
              <a:ext uri="{FF2B5EF4-FFF2-40B4-BE49-F238E27FC236}">
                <a16:creationId xmlns:a16="http://schemas.microsoft.com/office/drawing/2014/main" xmlns="" id="{E09D1C61-BFD0-4274-8D67-70FB5E983053}"/>
              </a:ext>
            </a:extLst>
          </p:cNvPr>
          <p:cNvSpPr/>
          <p:nvPr/>
        </p:nvSpPr>
        <p:spPr>
          <a:xfrm rot="10800000" flipH="1">
            <a:off x="5086672" y="4177717"/>
            <a:ext cx="1471555" cy="858841"/>
          </a:xfrm>
          <a:prstGeom prst="corner">
            <a:avLst>
              <a:gd name="adj1" fmla="val 17009"/>
              <a:gd name="adj2" fmla="val 166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2" name="Freeform 6">
            <a:extLst>
              <a:ext uri="{FF2B5EF4-FFF2-40B4-BE49-F238E27FC236}">
                <a16:creationId xmlns:a16="http://schemas.microsoft.com/office/drawing/2014/main" xmlns="" id="{294687EF-CC1D-4E02-8978-3A44E89645CC}"/>
              </a:ext>
            </a:extLst>
          </p:cNvPr>
          <p:cNvSpPr>
            <a:spLocks noChangeArrowheads="1"/>
          </p:cNvSpPr>
          <p:nvPr/>
        </p:nvSpPr>
        <p:spPr bwMode="auto">
          <a:xfrm>
            <a:off x="9588084" y="3127284"/>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4"/>
          </a:solidFill>
          <a:ln>
            <a:noFill/>
          </a:ln>
          <a:effectLst/>
        </p:spPr>
        <p:txBody>
          <a:bodyPr wrap="none" anchor="ctr"/>
          <a:lstStyle/>
          <a:p>
            <a:endParaRPr lang="en-GB" sz="2450" dirty="0">
              <a:latin typeface="+mj-lt"/>
            </a:endParaRPr>
          </a:p>
        </p:txBody>
      </p:sp>
      <p:sp>
        <p:nvSpPr>
          <p:cNvPr id="63" name="L-Shape 62">
            <a:extLst>
              <a:ext uri="{FF2B5EF4-FFF2-40B4-BE49-F238E27FC236}">
                <a16:creationId xmlns:a16="http://schemas.microsoft.com/office/drawing/2014/main" xmlns="" id="{400ABB2D-858C-44FF-860A-59E4B789BD87}"/>
              </a:ext>
            </a:extLst>
          </p:cNvPr>
          <p:cNvSpPr/>
          <p:nvPr/>
        </p:nvSpPr>
        <p:spPr>
          <a:xfrm rot="10800000" flipH="1">
            <a:off x="8332109" y="3452451"/>
            <a:ext cx="1471555" cy="858841"/>
          </a:xfrm>
          <a:prstGeom prst="corner">
            <a:avLst>
              <a:gd name="adj1" fmla="val 17009"/>
              <a:gd name="adj2" fmla="val 1663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4" name="L-Shape 63">
            <a:extLst>
              <a:ext uri="{FF2B5EF4-FFF2-40B4-BE49-F238E27FC236}">
                <a16:creationId xmlns:a16="http://schemas.microsoft.com/office/drawing/2014/main" xmlns="" id="{C7DC8BA1-D48C-48C6-B16E-6E4E6F3651B6}"/>
              </a:ext>
            </a:extLst>
          </p:cNvPr>
          <p:cNvSpPr/>
          <p:nvPr/>
        </p:nvSpPr>
        <p:spPr>
          <a:xfrm rot="10800000" flipH="1">
            <a:off x="9974646" y="3119059"/>
            <a:ext cx="1471555" cy="858841"/>
          </a:xfrm>
          <a:prstGeom prst="corner">
            <a:avLst>
              <a:gd name="adj1" fmla="val 17009"/>
              <a:gd name="adj2" fmla="val 1663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5" name="L-Shape 64">
            <a:extLst>
              <a:ext uri="{FF2B5EF4-FFF2-40B4-BE49-F238E27FC236}">
                <a16:creationId xmlns:a16="http://schemas.microsoft.com/office/drawing/2014/main" xmlns="" id="{C984EBDF-A273-46BC-B4DB-2068E7D310DD}"/>
              </a:ext>
            </a:extLst>
          </p:cNvPr>
          <p:cNvSpPr/>
          <p:nvPr/>
        </p:nvSpPr>
        <p:spPr>
          <a:xfrm rot="10800000" flipH="1">
            <a:off x="6717111" y="3834710"/>
            <a:ext cx="1471555" cy="858841"/>
          </a:xfrm>
          <a:prstGeom prst="corner">
            <a:avLst>
              <a:gd name="adj1" fmla="val 17009"/>
              <a:gd name="adj2" fmla="val 1663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6" name="Subtitle 2">
            <a:extLst>
              <a:ext uri="{FF2B5EF4-FFF2-40B4-BE49-F238E27FC236}">
                <a16:creationId xmlns:a16="http://schemas.microsoft.com/office/drawing/2014/main" xmlns="" id="{6DA36CAD-13BA-45F2-891E-9C1C0945FC60}"/>
              </a:ext>
            </a:extLst>
          </p:cNvPr>
          <p:cNvSpPr txBox="1">
            <a:spLocks/>
          </p:cNvSpPr>
          <p:nvPr/>
        </p:nvSpPr>
        <p:spPr>
          <a:xfrm>
            <a:off x="3653972" y="4693575"/>
            <a:ext cx="1403465"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Prompt business management evaluations (e.g. using key figures)</a:t>
            </a:r>
          </a:p>
        </p:txBody>
      </p:sp>
      <p:sp>
        <p:nvSpPr>
          <p:cNvPr id="67" name="Subtitle 2">
            <a:extLst>
              <a:ext uri="{FF2B5EF4-FFF2-40B4-BE49-F238E27FC236}">
                <a16:creationId xmlns:a16="http://schemas.microsoft.com/office/drawing/2014/main" xmlns="" id="{6C14AE31-B32D-4780-9EF1-F12354D0EEF1}"/>
              </a:ext>
            </a:extLst>
          </p:cNvPr>
          <p:cNvSpPr txBox="1">
            <a:spLocks/>
          </p:cNvSpPr>
          <p:nvPr/>
        </p:nvSpPr>
        <p:spPr>
          <a:xfrm>
            <a:off x="5262758" y="4370305"/>
            <a:ext cx="1403465"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Qualitative cost accounting (transparency of profit and loss units)</a:t>
            </a:r>
          </a:p>
        </p:txBody>
      </p:sp>
      <p:sp>
        <p:nvSpPr>
          <p:cNvPr id="68" name="Subtitle 2">
            <a:extLst>
              <a:ext uri="{FF2B5EF4-FFF2-40B4-BE49-F238E27FC236}">
                <a16:creationId xmlns:a16="http://schemas.microsoft.com/office/drawing/2014/main" xmlns="" id="{C08C58B0-EB71-41A8-AF9D-6E8742073E8E}"/>
              </a:ext>
            </a:extLst>
          </p:cNvPr>
          <p:cNvSpPr txBox="1">
            <a:spLocks/>
          </p:cNvSpPr>
          <p:nvPr/>
        </p:nvSpPr>
        <p:spPr>
          <a:xfrm>
            <a:off x="6884162" y="4028181"/>
            <a:ext cx="1463387" cy="27252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Integrated corporate planning (profit, balance sheet and liquidity planning). Supplementary short-term detailed financial planning</a:t>
            </a: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69" name="Subtitle 2">
            <a:extLst>
              <a:ext uri="{FF2B5EF4-FFF2-40B4-BE49-F238E27FC236}">
                <a16:creationId xmlns:a16="http://schemas.microsoft.com/office/drawing/2014/main" xmlns="" id="{141CCA65-AAB7-4DE3-A1BD-939C8411940A}"/>
              </a:ext>
            </a:extLst>
          </p:cNvPr>
          <p:cNvSpPr txBox="1">
            <a:spLocks/>
          </p:cNvSpPr>
          <p:nvPr/>
        </p:nvSpPr>
        <p:spPr>
          <a:xfrm>
            <a:off x="8504844" y="3647540"/>
            <a:ext cx="1266235" cy="28114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olling Forecast (constant adaptation of planning)</a:t>
            </a:r>
          </a:p>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eal-time plan: actual/</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deviation analysis</a:t>
            </a: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70" name="Subtitle 2">
            <a:extLst>
              <a:ext uri="{FF2B5EF4-FFF2-40B4-BE49-F238E27FC236}">
                <a16:creationId xmlns:a16="http://schemas.microsoft.com/office/drawing/2014/main" xmlns="" id="{70EC203E-2336-497F-8868-911BE45F9663}"/>
              </a:ext>
            </a:extLst>
          </p:cNvPr>
          <p:cNvSpPr txBox="1">
            <a:spLocks/>
          </p:cNvSpPr>
          <p:nvPr/>
        </p:nvSpPr>
        <p:spPr>
          <a:xfrm>
            <a:off x="10150733" y="3315458"/>
            <a:ext cx="1466450" cy="1265739"/>
          </a:xfrm>
          <a:prstGeom prst="rect">
            <a:avLst/>
          </a:prstGeom>
          <a:solidFill>
            <a:schemeClr val="accent4"/>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b="1" dirty="0">
                <a:solidFill>
                  <a:srgbClr val="245473"/>
                </a:solidFill>
                <a:latin typeface="+mj-lt"/>
                <a:ea typeface="Lato Light" panose="020F0502020204030203" pitchFamily="34" charset="0"/>
                <a:cs typeface="Mukta ExtraLight" panose="020B0000000000000000" pitchFamily="34" charset="77"/>
              </a:rPr>
              <a:t>Draw up a sustainable Restructuring Concept </a:t>
            </a:r>
          </a:p>
        </p:txBody>
      </p:sp>
      <p:sp>
        <p:nvSpPr>
          <p:cNvPr id="71" name="Freeform 18">
            <a:extLst>
              <a:ext uri="{FF2B5EF4-FFF2-40B4-BE49-F238E27FC236}">
                <a16:creationId xmlns:a16="http://schemas.microsoft.com/office/drawing/2014/main" xmlns="" id="{4B5C7710-F2E3-4BE5-B276-D245E909760F}"/>
              </a:ext>
            </a:extLst>
          </p:cNvPr>
          <p:cNvSpPr>
            <a:spLocks noChangeArrowheads="1"/>
          </p:cNvSpPr>
          <p:nvPr/>
        </p:nvSpPr>
        <p:spPr bwMode="auto">
          <a:xfrm>
            <a:off x="3917002" y="2985141"/>
            <a:ext cx="127834" cy="132797"/>
          </a:xfrm>
          <a:custGeom>
            <a:avLst/>
            <a:gdLst>
              <a:gd name="T0" fmla="*/ 248 w 453"/>
              <a:gd name="T1" fmla="*/ 462 h 471"/>
              <a:gd name="T2" fmla="*/ 248 w 453"/>
              <a:gd name="T3" fmla="*/ 462 h 471"/>
              <a:gd name="T4" fmla="*/ 215 w 453"/>
              <a:gd name="T5" fmla="*/ 457 h 471"/>
              <a:gd name="T6" fmla="*/ 9 w 453"/>
              <a:gd name="T7" fmla="*/ 188 h 471"/>
              <a:gd name="T8" fmla="*/ 9 w 453"/>
              <a:gd name="T9" fmla="*/ 188 h 471"/>
              <a:gd name="T10" fmla="*/ 13 w 453"/>
              <a:gd name="T11" fmla="*/ 155 h 471"/>
              <a:gd name="T12" fmla="*/ 204 w 453"/>
              <a:gd name="T13" fmla="*/ 9 h 471"/>
              <a:gd name="T14" fmla="*/ 204 w 453"/>
              <a:gd name="T15" fmla="*/ 9 h 471"/>
              <a:gd name="T16" fmla="*/ 237 w 453"/>
              <a:gd name="T17" fmla="*/ 13 h 471"/>
              <a:gd name="T18" fmla="*/ 443 w 453"/>
              <a:gd name="T19" fmla="*/ 282 h 471"/>
              <a:gd name="T20" fmla="*/ 443 w 453"/>
              <a:gd name="T21" fmla="*/ 282 h 471"/>
              <a:gd name="T22" fmla="*/ 439 w 453"/>
              <a:gd name="T23" fmla="*/ 315 h 471"/>
              <a:gd name="T24" fmla="*/ 248 w 453"/>
              <a:gd name="T25" fmla="*/ 46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3" h="471">
                <a:moveTo>
                  <a:pt x="248" y="462"/>
                </a:moveTo>
                <a:lnTo>
                  <a:pt x="248" y="462"/>
                </a:lnTo>
                <a:cubicBezTo>
                  <a:pt x="237" y="470"/>
                  <a:pt x="223" y="469"/>
                  <a:pt x="215" y="457"/>
                </a:cubicBezTo>
                <a:lnTo>
                  <a:pt x="9" y="188"/>
                </a:lnTo>
                <a:lnTo>
                  <a:pt x="9" y="188"/>
                </a:lnTo>
                <a:cubicBezTo>
                  <a:pt x="0" y="178"/>
                  <a:pt x="3" y="163"/>
                  <a:pt x="13" y="155"/>
                </a:cubicBezTo>
                <a:lnTo>
                  <a:pt x="204" y="9"/>
                </a:lnTo>
                <a:lnTo>
                  <a:pt x="204" y="9"/>
                </a:lnTo>
                <a:cubicBezTo>
                  <a:pt x="215" y="0"/>
                  <a:pt x="230" y="3"/>
                  <a:pt x="237" y="13"/>
                </a:cubicBezTo>
                <a:lnTo>
                  <a:pt x="443" y="282"/>
                </a:lnTo>
                <a:lnTo>
                  <a:pt x="443" y="282"/>
                </a:lnTo>
                <a:cubicBezTo>
                  <a:pt x="452" y="294"/>
                  <a:pt x="449" y="308"/>
                  <a:pt x="439" y="315"/>
                </a:cubicBezTo>
                <a:lnTo>
                  <a:pt x="248" y="462"/>
                </a:lnTo>
              </a:path>
            </a:pathLst>
          </a:custGeom>
          <a:solidFill>
            <a:schemeClr val="accent1">
              <a:lumMod val="40000"/>
              <a:lumOff val="60000"/>
            </a:schemeClr>
          </a:solidFill>
          <a:ln>
            <a:noFill/>
          </a:ln>
          <a:effectLst/>
        </p:spPr>
        <p:txBody>
          <a:bodyPr wrap="none" anchor="ctr"/>
          <a:lstStyle/>
          <a:p>
            <a:endParaRPr lang="en-GB" sz="2450" dirty="0">
              <a:latin typeface="+mj-lt"/>
            </a:endParaRPr>
          </a:p>
        </p:txBody>
      </p:sp>
    </p:spTree>
    <p:extLst>
      <p:ext uri="{BB962C8B-B14F-4D97-AF65-F5344CB8AC3E}">
        <p14:creationId xmlns:p14="http://schemas.microsoft.com/office/powerpoint/2010/main" val="38882025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a:xfrm>
            <a:off x="1447686" y="498466"/>
            <a:ext cx="8852375" cy="697353"/>
          </a:xfrm>
        </p:spPr>
        <p:txBody>
          <a:bodyPr>
            <a:normAutofit/>
          </a:bodyPr>
          <a:lstStyle/>
          <a:p>
            <a:r>
              <a:rPr lang="en-GB" dirty="0"/>
              <a:t>Reducing the impact of Crisis - Mitigation</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284345" y="2142491"/>
            <a:ext cx="2541024" cy="377569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rgbClr val="245473"/>
                </a:solidFill>
                <a:latin typeface="+mj-lt"/>
                <a:ea typeface="Open Sans Light" panose="020B0306030504020204" pitchFamily="34" charset="0"/>
                <a:cs typeface="Open Sans Light" panose="020B0306030504020204" pitchFamily="34" charset="0"/>
              </a:rPr>
              <a:t>In order to avoid irreversible consequences, the insolvency readiness must first be averted and then the liquidity crisis must be permanently resolved.</a:t>
            </a:r>
            <a:endParaRPr lang="en-US" sz="2800" dirty="0">
              <a:solidFill>
                <a:srgbClr val="245473"/>
              </a:solidFill>
            </a:endParaRPr>
          </a:p>
        </p:txBody>
      </p:sp>
      <p:sp>
        <p:nvSpPr>
          <p:cNvPr id="24" name="Chevron 1">
            <a:extLst>
              <a:ext uri="{FF2B5EF4-FFF2-40B4-BE49-F238E27FC236}">
                <a16:creationId xmlns:a16="http://schemas.microsoft.com/office/drawing/2014/main" xmlns="" id="{FDD36281-1E25-4D30-9E84-C77A5C38F4BA}"/>
              </a:ext>
            </a:extLst>
          </p:cNvPr>
          <p:cNvSpPr/>
          <p:nvPr/>
        </p:nvSpPr>
        <p:spPr>
          <a:xfrm>
            <a:off x="3203910" y="1912112"/>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25" name="Chevron 2">
            <a:extLst>
              <a:ext uri="{FF2B5EF4-FFF2-40B4-BE49-F238E27FC236}">
                <a16:creationId xmlns:a16="http://schemas.microsoft.com/office/drawing/2014/main" xmlns="" id="{2E9833ED-FC99-42BC-8406-06A2341CC685}"/>
              </a:ext>
            </a:extLst>
          </p:cNvPr>
          <p:cNvSpPr/>
          <p:nvPr/>
        </p:nvSpPr>
        <p:spPr>
          <a:xfrm>
            <a:off x="4661389" y="1912112"/>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2" name="Chevron 3">
            <a:extLst>
              <a:ext uri="{FF2B5EF4-FFF2-40B4-BE49-F238E27FC236}">
                <a16:creationId xmlns:a16="http://schemas.microsoft.com/office/drawing/2014/main" xmlns="" id="{77F1EE87-03C2-4032-B6B5-6AF96811AA4D}"/>
              </a:ext>
            </a:extLst>
          </p:cNvPr>
          <p:cNvSpPr/>
          <p:nvPr/>
        </p:nvSpPr>
        <p:spPr>
          <a:xfrm>
            <a:off x="6118868" y="1912112"/>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3" name="Chevron 4">
            <a:extLst>
              <a:ext uri="{FF2B5EF4-FFF2-40B4-BE49-F238E27FC236}">
                <a16:creationId xmlns:a16="http://schemas.microsoft.com/office/drawing/2014/main" xmlns="" id="{6A6E61BE-128F-4FFC-A420-376B8A19C41B}"/>
              </a:ext>
            </a:extLst>
          </p:cNvPr>
          <p:cNvSpPr/>
          <p:nvPr/>
        </p:nvSpPr>
        <p:spPr>
          <a:xfrm>
            <a:off x="7576347" y="1912112"/>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4" name="Chevron 5">
            <a:extLst>
              <a:ext uri="{FF2B5EF4-FFF2-40B4-BE49-F238E27FC236}">
                <a16:creationId xmlns:a16="http://schemas.microsoft.com/office/drawing/2014/main" xmlns="" id="{A2DBF5D2-08FB-49B1-A1D4-845972FEE188}"/>
              </a:ext>
            </a:extLst>
          </p:cNvPr>
          <p:cNvSpPr/>
          <p:nvPr/>
        </p:nvSpPr>
        <p:spPr>
          <a:xfrm>
            <a:off x="9033826" y="1912112"/>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5" name="TextBox 14">
            <a:extLst>
              <a:ext uri="{FF2B5EF4-FFF2-40B4-BE49-F238E27FC236}">
                <a16:creationId xmlns:a16="http://schemas.microsoft.com/office/drawing/2014/main" xmlns="" id="{2138276A-9978-4B37-97EF-DF00BC9338D0}"/>
              </a:ext>
            </a:extLst>
          </p:cNvPr>
          <p:cNvSpPr txBox="1"/>
          <p:nvPr/>
        </p:nvSpPr>
        <p:spPr>
          <a:xfrm>
            <a:off x="3426881" y="1881151"/>
            <a:ext cx="1233279"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akehold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risis</a:t>
            </a:r>
          </a:p>
        </p:txBody>
      </p:sp>
      <p:sp>
        <p:nvSpPr>
          <p:cNvPr id="46" name="TextBox 15">
            <a:extLst>
              <a:ext uri="{FF2B5EF4-FFF2-40B4-BE49-F238E27FC236}">
                <a16:creationId xmlns:a16="http://schemas.microsoft.com/office/drawing/2014/main" xmlns="" id="{EF56AA4F-DA47-4B34-94BC-5272379460E7}"/>
              </a:ext>
            </a:extLst>
          </p:cNvPr>
          <p:cNvSpPr txBox="1"/>
          <p:nvPr/>
        </p:nvSpPr>
        <p:spPr>
          <a:xfrm>
            <a:off x="4711114" y="2004262"/>
            <a:ext cx="14181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rategy Crisis</a:t>
            </a:r>
          </a:p>
        </p:txBody>
      </p:sp>
      <p:sp>
        <p:nvSpPr>
          <p:cNvPr id="47" name="TextBox 16">
            <a:extLst>
              <a:ext uri="{FF2B5EF4-FFF2-40B4-BE49-F238E27FC236}">
                <a16:creationId xmlns:a16="http://schemas.microsoft.com/office/drawing/2014/main" xmlns="" id="{A026F4D4-E51E-4795-9850-E63F88879C21}"/>
              </a:ext>
            </a:extLst>
          </p:cNvPr>
          <p:cNvSpPr txBox="1"/>
          <p:nvPr/>
        </p:nvSpPr>
        <p:spPr>
          <a:xfrm>
            <a:off x="6294520" y="1881151"/>
            <a:ext cx="118401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 / Sales Crisis</a:t>
            </a:r>
          </a:p>
        </p:txBody>
      </p:sp>
      <p:sp>
        <p:nvSpPr>
          <p:cNvPr id="48" name="TextBox 17">
            <a:extLst>
              <a:ext uri="{FF2B5EF4-FFF2-40B4-BE49-F238E27FC236}">
                <a16:creationId xmlns:a16="http://schemas.microsoft.com/office/drawing/2014/main" xmlns="" id="{879A0AA7-AF6A-41B6-A622-32C84FB394C9}"/>
              </a:ext>
            </a:extLst>
          </p:cNvPr>
          <p:cNvSpPr txBox="1"/>
          <p:nvPr/>
        </p:nvSpPr>
        <p:spPr>
          <a:xfrm>
            <a:off x="7900326" y="1881151"/>
            <a:ext cx="930791"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arnings Crisis</a:t>
            </a:r>
          </a:p>
        </p:txBody>
      </p:sp>
      <p:sp>
        <p:nvSpPr>
          <p:cNvPr id="49" name="TextBox 18">
            <a:extLst>
              <a:ext uri="{FF2B5EF4-FFF2-40B4-BE49-F238E27FC236}">
                <a16:creationId xmlns:a16="http://schemas.microsoft.com/office/drawing/2014/main" xmlns="" id="{A65579BF-7149-497B-B238-F2458C229B2D}"/>
              </a:ext>
            </a:extLst>
          </p:cNvPr>
          <p:cNvSpPr txBox="1"/>
          <p:nvPr/>
        </p:nvSpPr>
        <p:spPr>
          <a:xfrm>
            <a:off x="9354543" y="1881151"/>
            <a:ext cx="93367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Liquidity Crisis</a:t>
            </a:r>
          </a:p>
        </p:txBody>
      </p:sp>
      <p:sp>
        <p:nvSpPr>
          <p:cNvPr id="50" name="Chevron 5">
            <a:extLst>
              <a:ext uri="{FF2B5EF4-FFF2-40B4-BE49-F238E27FC236}">
                <a16:creationId xmlns:a16="http://schemas.microsoft.com/office/drawing/2014/main" xmlns="" id="{7433D156-64F4-4832-83C0-1E5C51EF5438}"/>
              </a:ext>
            </a:extLst>
          </p:cNvPr>
          <p:cNvSpPr/>
          <p:nvPr/>
        </p:nvSpPr>
        <p:spPr>
          <a:xfrm>
            <a:off x="10491305" y="1913980"/>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1" name="TextBox 18">
            <a:extLst>
              <a:ext uri="{FF2B5EF4-FFF2-40B4-BE49-F238E27FC236}">
                <a16:creationId xmlns:a16="http://schemas.microsoft.com/office/drawing/2014/main" xmlns="" id="{BEC1024D-362E-448E-97D1-715729F45C6F}"/>
              </a:ext>
            </a:extLst>
          </p:cNvPr>
          <p:cNvSpPr txBox="1"/>
          <p:nvPr/>
        </p:nvSpPr>
        <p:spPr>
          <a:xfrm>
            <a:off x="10710953" y="2004261"/>
            <a:ext cx="1106422"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solvency</a:t>
            </a:r>
          </a:p>
        </p:txBody>
      </p:sp>
      <p:grpSp>
        <p:nvGrpSpPr>
          <p:cNvPr id="3" name="Gruppieren 2">
            <a:extLst>
              <a:ext uri="{FF2B5EF4-FFF2-40B4-BE49-F238E27FC236}">
                <a16:creationId xmlns:a16="http://schemas.microsoft.com/office/drawing/2014/main" xmlns="" id="{7B74D334-0DAF-4000-AACA-609675FF0363}"/>
              </a:ext>
            </a:extLst>
          </p:cNvPr>
          <p:cNvGrpSpPr/>
          <p:nvPr/>
        </p:nvGrpSpPr>
        <p:grpSpPr>
          <a:xfrm rot="5400000">
            <a:off x="7109926" y="2554271"/>
            <a:ext cx="779420" cy="884886"/>
            <a:chOff x="2524558" y="1670769"/>
            <a:chExt cx="1575015" cy="1606818"/>
          </a:xfrm>
        </p:grpSpPr>
        <p:sp>
          <p:nvSpPr>
            <p:cNvPr id="28" name="Rounded Rectangle 60">
              <a:extLst>
                <a:ext uri="{FF2B5EF4-FFF2-40B4-BE49-F238E27FC236}">
                  <a16:creationId xmlns:a16="http://schemas.microsoft.com/office/drawing/2014/main" xmlns="" id="{A59B24D1-0AF7-4998-BDA2-DCF4321D59E1}"/>
                </a:ext>
              </a:extLst>
            </p:cNvPr>
            <p:cNvSpPr/>
            <p:nvPr/>
          </p:nvSpPr>
          <p:spPr>
            <a:xfrm>
              <a:off x="2524558" y="2247459"/>
              <a:ext cx="1575015" cy="456996"/>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29" name="Rounded Rectangle 63">
              <a:extLst>
                <a:ext uri="{FF2B5EF4-FFF2-40B4-BE49-F238E27FC236}">
                  <a16:creationId xmlns:a16="http://schemas.microsoft.com/office/drawing/2014/main" xmlns="" id="{C1D69A23-7280-475E-89FB-2E1CFE036B65}"/>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0" name="Rounded Rectangle 62">
              <a:extLst>
                <a:ext uri="{FF2B5EF4-FFF2-40B4-BE49-F238E27FC236}">
                  <a16:creationId xmlns:a16="http://schemas.microsoft.com/office/drawing/2014/main" xmlns="" id="{6CC106A5-E79A-410B-97CB-D5FD8BBF736B}"/>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sp>
        <p:nvSpPr>
          <p:cNvPr id="32" name="TextBox 106">
            <a:extLst>
              <a:ext uri="{FF2B5EF4-FFF2-40B4-BE49-F238E27FC236}">
                <a16:creationId xmlns:a16="http://schemas.microsoft.com/office/drawing/2014/main" xmlns="" id="{3A6765D1-A0A5-423D-9195-8762C6239F1C}"/>
              </a:ext>
            </a:extLst>
          </p:cNvPr>
          <p:cNvSpPr txBox="1"/>
          <p:nvPr/>
        </p:nvSpPr>
        <p:spPr>
          <a:xfrm>
            <a:off x="7835947" y="2444411"/>
            <a:ext cx="4131346" cy="1077218"/>
          </a:xfrm>
          <a:prstGeom prst="rect">
            <a:avLst/>
          </a:prstGeom>
          <a:noFill/>
        </p:spPr>
        <p:txBody>
          <a:bodyPr wrap="square" lIns="91440" tIns="45720" rIns="91440" bIns="45720" rtlCol="0" anchor="b" anchorCtr="0">
            <a:spAutoFit/>
          </a:bodyPr>
          <a:lstStyle/>
          <a:p>
            <a:r>
              <a:rPr lang="en-GB" sz="1600" b="1" dirty="0">
                <a:solidFill>
                  <a:srgbClr val="245473"/>
                </a:solidFill>
                <a:latin typeface="+mj-lt"/>
                <a:ea typeface="League Spartan" charset="0"/>
                <a:cs typeface="Poppins" pitchFamily="2" charset="77"/>
              </a:rPr>
              <a:t>Procedure for crisis management follows the</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opposite structure of the crisis phases</a:t>
            </a:r>
            <a:br>
              <a:rPr lang="en-GB" sz="1600" b="1" dirty="0">
                <a:solidFill>
                  <a:srgbClr val="245473"/>
                </a:solidFill>
                <a:latin typeface="+mj-lt"/>
                <a:ea typeface="League Spartan" charset="0"/>
                <a:cs typeface="Poppins" pitchFamily="2" charset="77"/>
              </a:rPr>
            </a:br>
            <a:r>
              <a:rPr lang="en-GB" sz="1600" dirty="0">
                <a:solidFill>
                  <a:srgbClr val="245473"/>
                </a:solidFill>
                <a:latin typeface="+mj-lt"/>
                <a:ea typeface="League Spartan" charset="0"/>
                <a:cs typeface="Poppins" pitchFamily="2" charset="77"/>
              </a:rPr>
              <a:t>(which does not mean that some processes of later mitigation phases are not started in time)</a:t>
            </a:r>
            <a:endParaRPr lang="en-GB" sz="1600" b="1" dirty="0">
              <a:solidFill>
                <a:srgbClr val="245473"/>
              </a:solidFill>
              <a:latin typeface="+mj-lt"/>
              <a:ea typeface="League Spartan" charset="0"/>
              <a:cs typeface="Poppins" pitchFamily="2" charset="77"/>
            </a:endParaRPr>
          </a:p>
        </p:txBody>
      </p:sp>
      <p:sp>
        <p:nvSpPr>
          <p:cNvPr id="62" name="Chevron 5">
            <a:extLst>
              <a:ext uri="{FF2B5EF4-FFF2-40B4-BE49-F238E27FC236}">
                <a16:creationId xmlns:a16="http://schemas.microsoft.com/office/drawing/2014/main" xmlns="" id="{4F60DCE7-049F-41CC-9A40-D907D267BB8D}"/>
              </a:ext>
            </a:extLst>
          </p:cNvPr>
          <p:cNvSpPr/>
          <p:nvPr/>
        </p:nvSpPr>
        <p:spPr>
          <a:xfrm>
            <a:off x="3203910" y="3938710"/>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3" name="TextBox 18">
            <a:extLst>
              <a:ext uri="{FF2B5EF4-FFF2-40B4-BE49-F238E27FC236}">
                <a16:creationId xmlns:a16="http://schemas.microsoft.com/office/drawing/2014/main" xmlns="" id="{F41A124D-CFE4-44DF-A466-4F6D87E92A4F}"/>
              </a:ext>
            </a:extLst>
          </p:cNvPr>
          <p:cNvSpPr txBox="1"/>
          <p:nvPr/>
        </p:nvSpPr>
        <p:spPr>
          <a:xfrm>
            <a:off x="3428672" y="4028991"/>
            <a:ext cx="1106422"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solvency</a:t>
            </a:r>
          </a:p>
        </p:txBody>
      </p:sp>
      <p:sp>
        <p:nvSpPr>
          <p:cNvPr id="64" name="Chevron 5">
            <a:extLst>
              <a:ext uri="{FF2B5EF4-FFF2-40B4-BE49-F238E27FC236}">
                <a16:creationId xmlns:a16="http://schemas.microsoft.com/office/drawing/2014/main" xmlns="" id="{2AD642B4-CD5B-410D-8D4A-A7BFA8047881}"/>
              </a:ext>
            </a:extLst>
          </p:cNvPr>
          <p:cNvSpPr/>
          <p:nvPr/>
        </p:nvSpPr>
        <p:spPr>
          <a:xfrm>
            <a:off x="4661389" y="3948896"/>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5" name="TextBox 18">
            <a:extLst>
              <a:ext uri="{FF2B5EF4-FFF2-40B4-BE49-F238E27FC236}">
                <a16:creationId xmlns:a16="http://schemas.microsoft.com/office/drawing/2014/main" xmlns="" id="{D4ECC176-5179-4EE2-91CE-0506CDD697EF}"/>
              </a:ext>
            </a:extLst>
          </p:cNvPr>
          <p:cNvSpPr txBox="1"/>
          <p:nvPr/>
        </p:nvSpPr>
        <p:spPr>
          <a:xfrm>
            <a:off x="4982106" y="3912821"/>
            <a:ext cx="969468"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Liquidity Crisis</a:t>
            </a:r>
          </a:p>
        </p:txBody>
      </p:sp>
      <p:sp>
        <p:nvSpPr>
          <p:cNvPr id="66" name="Chevron 4">
            <a:extLst>
              <a:ext uri="{FF2B5EF4-FFF2-40B4-BE49-F238E27FC236}">
                <a16:creationId xmlns:a16="http://schemas.microsoft.com/office/drawing/2014/main" xmlns="" id="{29F97140-A136-4A51-ADA6-6F6E8A2FC5EC}"/>
              </a:ext>
            </a:extLst>
          </p:cNvPr>
          <p:cNvSpPr/>
          <p:nvPr/>
        </p:nvSpPr>
        <p:spPr>
          <a:xfrm>
            <a:off x="6128736" y="3938710"/>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7" name="TextBox 17">
            <a:extLst>
              <a:ext uri="{FF2B5EF4-FFF2-40B4-BE49-F238E27FC236}">
                <a16:creationId xmlns:a16="http://schemas.microsoft.com/office/drawing/2014/main" xmlns="" id="{A13B9F6E-4DA7-48AE-A5CA-DE072B3450E8}"/>
              </a:ext>
            </a:extLst>
          </p:cNvPr>
          <p:cNvSpPr txBox="1"/>
          <p:nvPr/>
        </p:nvSpPr>
        <p:spPr>
          <a:xfrm>
            <a:off x="6452715" y="3907749"/>
            <a:ext cx="925677"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arnings Crisis</a:t>
            </a:r>
          </a:p>
        </p:txBody>
      </p:sp>
      <p:sp>
        <p:nvSpPr>
          <p:cNvPr id="68" name="Chevron 3">
            <a:extLst>
              <a:ext uri="{FF2B5EF4-FFF2-40B4-BE49-F238E27FC236}">
                <a16:creationId xmlns:a16="http://schemas.microsoft.com/office/drawing/2014/main" xmlns="" id="{06469C4B-44E5-4FC0-8F4A-70688C97D6B9}"/>
              </a:ext>
            </a:extLst>
          </p:cNvPr>
          <p:cNvSpPr/>
          <p:nvPr/>
        </p:nvSpPr>
        <p:spPr>
          <a:xfrm>
            <a:off x="7581281" y="3936107"/>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9" name="TextBox 16">
            <a:extLst>
              <a:ext uri="{FF2B5EF4-FFF2-40B4-BE49-F238E27FC236}">
                <a16:creationId xmlns:a16="http://schemas.microsoft.com/office/drawing/2014/main" xmlns="" id="{71C192AE-3451-4B69-8025-48699E07C90A}"/>
              </a:ext>
            </a:extLst>
          </p:cNvPr>
          <p:cNvSpPr txBox="1"/>
          <p:nvPr/>
        </p:nvSpPr>
        <p:spPr>
          <a:xfrm>
            <a:off x="7756933" y="3905146"/>
            <a:ext cx="118401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 / Sales Crisis</a:t>
            </a:r>
          </a:p>
        </p:txBody>
      </p:sp>
      <p:sp>
        <p:nvSpPr>
          <p:cNvPr id="70" name="Chevron 2">
            <a:extLst>
              <a:ext uri="{FF2B5EF4-FFF2-40B4-BE49-F238E27FC236}">
                <a16:creationId xmlns:a16="http://schemas.microsoft.com/office/drawing/2014/main" xmlns="" id="{2EAE1888-B893-48F9-A72D-84A72FCCDBC2}"/>
              </a:ext>
            </a:extLst>
          </p:cNvPr>
          <p:cNvSpPr/>
          <p:nvPr/>
        </p:nvSpPr>
        <p:spPr>
          <a:xfrm>
            <a:off x="9033826" y="3937409"/>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71" name="TextBox 15">
            <a:extLst>
              <a:ext uri="{FF2B5EF4-FFF2-40B4-BE49-F238E27FC236}">
                <a16:creationId xmlns:a16="http://schemas.microsoft.com/office/drawing/2014/main" xmlns="" id="{26EF84C7-47F3-4E7E-B7A4-EEC79B30DE24}"/>
              </a:ext>
            </a:extLst>
          </p:cNvPr>
          <p:cNvSpPr txBox="1"/>
          <p:nvPr/>
        </p:nvSpPr>
        <p:spPr>
          <a:xfrm>
            <a:off x="9083551" y="4029559"/>
            <a:ext cx="14181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rategy Crisis</a:t>
            </a:r>
          </a:p>
        </p:txBody>
      </p:sp>
      <p:sp>
        <p:nvSpPr>
          <p:cNvPr id="72" name="Chevron 1">
            <a:extLst>
              <a:ext uri="{FF2B5EF4-FFF2-40B4-BE49-F238E27FC236}">
                <a16:creationId xmlns:a16="http://schemas.microsoft.com/office/drawing/2014/main" xmlns="" id="{A29364BA-B985-41E7-BDE5-FD1A40B12EAB}"/>
              </a:ext>
            </a:extLst>
          </p:cNvPr>
          <p:cNvSpPr/>
          <p:nvPr/>
        </p:nvSpPr>
        <p:spPr>
          <a:xfrm>
            <a:off x="10492213" y="3936833"/>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73" name="TextBox 14">
            <a:extLst>
              <a:ext uri="{FF2B5EF4-FFF2-40B4-BE49-F238E27FC236}">
                <a16:creationId xmlns:a16="http://schemas.microsoft.com/office/drawing/2014/main" xmlns="" id="{577AC415-139B-40B9-98B1-E49AF12CB957}"/>
              </a:ext>
            </a:extLst>
          </p:cNvPr>
          <p:cNvSpPr txBox="1"/>
          <p:nvPr/>
        </p:nvSpPr>
        <p:spPr>
          <a:xfrm>
            <a:off x="10710070" y="3905872"/>
            <a:ext cx="130487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akehold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risis</a:t>
            </a:r>
          </a:p>
        </p:txBody>
      </p:sp>
      <p:sp>
        <p:nvSpPr>
          <p:cNvPr id="74" name="Subtitle 2">
            <a:extLst>
              <a:ext uri="{FF2B5EF4-FFF2-40B4-BE49-F238E27FC236}">
                <a16:creationId xmlns:a16="http://schemas.microsoft.com/office/drawing/2014/main" xmlns="" id="{CF4E32C1-8144-49D5-9524-894A03EF7574}"/>
              </a:ext>
            </a:extLst>
          </p:cNvPr>
          <p:cNvSpPr txBox="1">
            <a:spLocks/>
          </p:cNvSpPr>
          <p:nvPr/>
        </p:nvSpPr>
        <p:spPr>
          <a:xfrm>
            <a:off x="3250959" y="4559154"/>
            <a:ext cx="1266235"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Prevention of the risk of insolvency</a:t>
            </a:r>
          </a:p>
        </p:txBody>
      </p:sp>
      <p:sp>
        <p:nvSpPr>
          <p:cNvPr id="75" name="Subtitle 2">
            <a:extLst>
              <a:ext uri="{FF2B5EF4-FFF2-40B4-BE49-F238E27FC236}">
                <a16:creationId xmlns:a16="http://schemas.microsoft.com/office/drawing/2014/main" xmlns="" id="{0BF9A7EC-FF91-47AB-A2B8-23FAF0DFEDE3}"/>
              </a:ext>
            </a:extLst>
          </p:cNvPr>
          <p:cNvSpPr txBox="1">
            <a:spLocks/>
          </p:cNvSpPr>
          <p:nvPr/>
        </p:nvSpPr>
        <p:spPr>
          <a:xfrm>
            <a:off x="4686700" y="4559154"/>
            <a:ext cx="1266235"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Overcoming the liquidity crisis</a:t>
            </a:r>
          </a:p>
        </p:txBody>
      </p:sp>
      <p:sp>
        <p:nvSpPr>
          <p:cNvPr id="76" name="Subtitle 2">
            <a:extLst>
              <a:ext uri="{FF2B5EF4-FFF2-40B4-BE49-F238E27FC236}">
                <a16:creationId xmlns:a16="http://schemas.microsoft.com/office/drawing/2014/main" xmlns="" id="{1246D6E5-672A-4DF5-8EA4-2B8372329F11}"/>
              </a:ext>
            </a:extLst>
          </p:cNvPr>
          <p:cNvSpPr txBox="1">
            <a:spLocks/>
          </p:cNvSpPr>
          <p:nvPr/>
        </p:nvSpPr>
        <p:spPr>
          <a:xfrm>
            <a:off x="6128736" y="4559154"/>
            <a:ext cx="1266235"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Overcoming the Earnings crisis</a:t>
            </a:r>
          </a:p>
        </p:txBody>
      </p:sp>
      <p:sp>
        <p:nvSpPr>
          <p:cNvPr id="77" name="Subtitle 2">
            <a:extLst>
              <a:ext uri="{FF2B5EF4-FFF2-40B4-BE49-F238E27FC236}">
                <a16:creationId xmlns:a16="http://schemas.microsoft.com/office/drawing/2014/main" xmlns="" id="{7B589B73-B1BC-4591-8BE9-6F7D895211AC}"/>
              </a:ext>
            </a:extLst>
          </p:cNvPr>
          <p:cNvSpPr txBox="1">
            <a:spLocks/>
          </p:cNvSpPr>
          <p:nvPr/>
        </p:nvSpPr>
        <p:spPr>
          <a:xfrm>
            <a:off x="7639185" y="4559154"/>
            <a:ext cx="1266235" cy="104061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Product / customer portfolio optimization and development</a:t>
            </a:r>
          </a:p>
        </p:txBody>
      </p:sp>
      <p:sp>
        <p:nvSpPr>
          <p:cNvPr id="78" name="Subtitle 2">
            <a:extLst>
              <a:ext uri="{FF2B5EF4-FFF2-40B4-BE49-F238E27FC236}">
                <a16:creationId xmlns:a16="http://schemas.microsoft.com/office/drawing/2014/main" xmlns="" id="{F66BADD7-012B-4648-8AA4-4E4B6F766915}"/>
              </a:ext>
            </a:extLst>
          </p:cNvPr>
          <p:cNvSpPr txBox="1">
            <a:spLocks/>
          </p:cNvSpPr>
          <p:nvPr/>
        </p:nvSpPr>
        <p:spPr>
          <a:xfrm>
            <a:off x="9033826" y="4559154"/>
            <a:ext cx="1266235"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Definition of mission statement and stringent strategy</a:t>
            </a:r>
          </a:p>
        </p:txBody>
      </p:sp>
      <p:sp>
        <p:nvSpPr>
          <p:cNvPr id="79" name="Subtitle 2">
            <a:extLst>
              <a:ext uri="{FF2B5EF4-FFF2-40B4-BE49-F238E27FC236}">
                <a16:creationId xmlns:a16="http://schemas.microsoft.com/office/drawing/2014/main" xmlns="" id="{6D46C763-CCBE-4AAC-B27D-7E1C0FDF532E}"/>
              </a:ext>
            </a:extLst>
          </p:cNvPr>
          <p:cNvSpPr txBox="1">
            <a:spLocks/>
          </p:cNvSpPr>
          <p:nvPr/>
        </p:nvSpPr>
        <p:spPr>
          <a:xfrm>
            <a:off x="10486903" y="4567407"/>
            <a:ext cx="1266235" cy="104734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Resolving the stakeholder crisis and implementing new structures</a:t>
            </a:r>
          </a:p>
        </p:txBody>
      </p:sp>
      <p:sp>
        <p:nvSpPr>
          <p:cNvPr id="80" name="TextBox 106">
            <a:extLst>
              <a:ext uri="{FF2B5EF4-FFF2-40B4-BE49-F238E27FC236}">
                <a16:creationId xmlns:a16="http://schemas.microsoft.com/office/drawing/2014/main" xmlns="" id="{08D91F0E-1861-465F-8E0A-8C42F8EAB4D7}"/>
              </a:ext>
            </a:extLst>
          </p:cNvPr>
          <p:cNvSpPr txBox="1"/>
          <p:nvPr/>
        </p:nvSpPr>
        <p:spPr>
          <a:xfrm>
            <a:off x="3203910" y="3526805"/>
            <a:ext cx="4990856" cy="338554"/>
          </a:xfrm>
          <a:prstGeom prst="rect">
            <a:avLst/>
          </a:prstGeom>
          <a:solidFill>
            <a:srgbClr val="E53292">
              <a:alpha val="69804"/>
            </a:srgbClr>
          </a:solid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Using existing Resources</a:t>
            </a:r>
          </a:p>
        </p:txBody>
      </p:sp>
      <p:sp>
        <p:nvSpPr>
          <p:cNvPr id="82" name="TextBox 106">
            <a:extLst>
              <a:ext uri="{FF2B5EF4-FFF2-40B4-BE49-F238E27FC236}">
                <a16:creationId xmlns:a16="http://schemas.microsoft.com/office/drawing/2014/main" xmlns="" id="{0353F053-5A17-4C67-8709-E324FC32E88C}"/>
              </a:ext>
            </a:extLst>
          </p:cNvPr>
          <p:cNvSpPr txBox="1"/>
          <p:nvPr/>
        </p:nvSpPr>
        <p:spPr>
          <a:xfrm>
            <a:off x="7144379" y="3526805"/>
            <a:ext cx="4751529" cy="338554"/>
          </a:xfrm>
          <a:prstGeom prst="rect">
            <a:avLst/>
          </a:prstGeom>
          <a:solidFill>
            <a:srgbClr val="8FAADC">
              <a:alpha val="69804"/>
            </a:srgbClr>
          </a:solid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Building new Potentials</a:t>
            </a:r>
          </a:p>
        </p:txBody>
      </p:sp>
      <p:sp>
        <p:nvSpPr>
          <p:cNvPr id="83" name="TextBox 106">
            <a:extLst>
              <a:ext uri="{FF2B5EF4-FFF2-40B4-BE49-F238E27FC236}">
                <a16:creationId xmlns:a16="http://schemas.microsoft.com/office/drawing/2014/main" xmlns="" id="{56CC06DD-A12D-4A5F-9C2C-4B2081253CE6}"/>
              </a:ext>
            </a:extLst>
          </p:cNvPr>
          <p:cNvSpPr txBox="1"/>
          <p:nvPr/>
        </p:nvSpPr>
        <p:spPr>
          <a:xfrm>
            <a:off x="3191674" y="5260333"/>
            <a:ext cx="2202847" cy="400110"/>
          </a:xfrm>
          <a:prstGeom prst="rect">
            <a:avLst/>
          </a:prstGeom>
          <a:noFill/>
        </p:spPr>
        <p:txBody>
          <a:bodyPr wrap="none" rtlCol="0" anchor="b" anchorCtr="0">
            <a:spAutoFit/>
          </a:bodyPr>
          <a:lstStyle/>
          <a:p>
            <a:r>
              <a:rPr lang="en-GB" sz="2000" b="1" dirty="0">
                <a:solidFill>
                  <a:schemeClr val="tx2"/>
                </a:solidFill>
                <a:latin typeface="+mj-lt"/>
                <a:ea typeface="League Spartan" charset="0"/>
                <a:cs typeface="Poppins" pitchFamily="2" charset="77"/>
              </a:rPr>
              <a:t>Potential Measures:</a:t>
            </a:r>
          </a:p>
        </p:txBody>
      </p:sp>
      <p:sp>
        <p:nvSpPr>
          <p:cNvPr id="84" name="TextBox 106">
            <a:extLst>
              <a:ext uri="{FF2B5EF4-FFF2-40B4-BE49-F238E27FC236}">
                <a16:creationId xmlns:a16="http://schemas.microsoft.com/office/drawing/2014/main" xmlns="" id="{6BD15A6E-A6AF-4BB9-A44A-521B206A187B}"/>
              </a:ext>
            </a:extLst>
          </p:cNvPr>
          <p:cNvSpPr txBox="1"/>
          <p:nvPr/>
        </p:nvSpPr>
        <p:spPr>
          <a:xfrm>
            <a:off x="3207761" y="5736963"/>
            <a:ext cx="4373520" cy="584775"/>
          </a:xfrm>
          <a:prstGeom prst="rect">
            <a:avLst/>
          </a:prstGeom>
          <a:solidFill>
            <a:srgbClr val="E53292">
              <a:alpha val="69804"/>
            </a:srgbClr>
          </a:solid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Working Capital Management, Reducing Costs, Reducing Personal etc.</a:t>
            </a:r>
          </a:p>
        </p:txBody>
      </p:sp>
      <p:sp>
        <p:nvSpPr>
          <p:cNvPr id="86" name="TextBox 106">
            <a:extLst>
              <a:ext uri="{FF2B5EF4-FFF2-40B4-BE49-F238E27FC236}">
                <a16:creationId xmlns:a16="http://schemas.microsoft.com/office/drawing/2014/main" xmlns="" id="{B68201F5-C7C4-456A-81AB-5D8C56CA5C0A}"/>
              </a:ext>
            </a:extLst>
          </p:cNvPr>
          <p:cNvSpPr txBox="1"/>
          <p:nvPr/>
        </p:nvSpPr>
        <p:spPr>
          <a:xfrm>
            <a:off x="7581281" y="5736963"/>
            <a:ext cx="4314627" cy="584775"/>
          </a:xfrm>
          <a:prstGeom prst="rect">
            <a:avLst/>
          </a:prstGeom>
          <a:solidFill>
            <a:srgbClr val="8FAADC">
              <a:alpha val="69804"/>
            </a:srgbClr>
          </a:solidFill>
        </p:spPr>
        <p:txBody>
          <a:bodyPr wrap="square" rtlCol="0" anchor="b" anchorCtr="0">
            <a:spAutoFit/>
          </a:bodyPr>
          <a:lstStyle/>
          <a:p>
            <a:pPr algn="ctr"/>
            <a:r>
              <a:rPr lang="en-GB" sz="1600" b="1">
                <a:solidFill>
                  <a:schemeClr val="tx2"/>
                </a:solidFill>
                <a:latin typeface="+mj-lt"/>
                <a:ea typeface="League Spartan" charset="0"/>
                <a:cs typeface="Poppins" pitchFamily="2" charset="77"/>
              </a:rPr>
              <a:t>New strategy, portfolio adjustment, new stakeholders, innovation management, etc.</a:t>
            </a:r>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4092473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28965" y="367064"/>
            <a:ext cx="8852375" cy="697353"/>
          </a:xfrm>
        </p:spPr>
        <p:txBody>
          <a:bodyPr>
            <a:normAutofit/>
          </a:bodyPr>
          <a:lstStyle/>
          <a:p>
            <a:r>
              <a:rPr lang="en-GB" dirty="0"/>
              <a:t>Restructuring Concept: Measur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05352" y="1835809"/>
            <a:ext cx="3712018" cy="526841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The right balance between a short- and long-term perspective is crucial for the sustainability of a successful business. However, there is a lot of evidence, not least the recent financial crisis, to show that long-term objectives have often been neglected because of too much concentration on short-term goals.</a:t>
            </a:r>
          </a:p>
          <a:p>
            <a:pPr marL="285750" indent="-285750" algn="l">
              <a:lnSpc>
                <a:spcPct val="100000"/>
              </a:lnSpc>
              <a:spcBef>
                <a:spcPts val="600"/>
              </a:spcBef>
              <a:buFont typeface="Wingdings" panose="05000000000000000000" pitchFamily="2" charset="2"/>
              <a:buChar char="à"/>
            </a:pP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Short term measures are crucial to react to the crisis and to overcome liquidity crisis</a:t>
            </a:r>
            <a:endParaRPr lang="en-GB" sz="19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But still it is important to find the right balance between short term reaction and long term, sustainable goals</a:t>
            </a:r>
            <a:endParaRPr lang="en-GB" sz="19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537F1DEE-C0B9-4FC3-A588-BF40D94BD60E}"/>
              </a:ext>
            </a:extLst>
          </p:cNvPr>
          <p:cNvGrpSpPr/>
          <p:nvPr/>
        </p:nvGrpSpPr>
        <p:grpSpPr>
          <a:xfrm>
            <a:off x="3909992" y="1957074"/>
            <a:ext cx="8282008" cy="4900926"/>
            <a:chOff x="4646106" y="1957074"/>
            <a:chExt cx="7545894" cy="4283334"/>
          </a:xfrm>
        </p:grpSpPr>
        <p:sp>
          <p:nvSpPr>
            <p:cNvPr id="5" name="Freeform 6">
              <a:extLst>
                <a:ext uri="{FF2B5EF4-FFF2-40B4-BE49-F238E27FC236}">
                  <a16:creationId xmlns:a16="http://schemas.microsoft.com/office/drawing/2014/main" xmlns="" id="{4945F0C8-9CD1-4301-A12B-53F4ECDED75F}"/>
                </a:ext>
              </a:extLst>
            </p:cNvPr>
            <p:cNvSpPr>
              <a:spLocks noChangeArrowheads="1"/>
            </p:cNvSpPr>
            <p:nvPr/>
          </p:nvSpPr>
          <p:spPr bwMode="auto">
            <a:xfrm>
              <a:off x="4934414" y="1978621"/>
              <a:ext cx="7257586" cy="4261787"/>
            </a:xfrm>
            <a:custGeom>
              <a:avLst/>
              <a:gdLst>
                <a:gd name="connsiteX0" fmla="*/ 19348523 w 19348523"/>
                <a:gd name="connsiteY0" fmla="*/ 0 h 11361807"/>
                <a:gd name="connsiteX1" fmla="*/ 19348523 w 19348523"/>
                <a:gd name="connsiteY1" fmla="*/ 218962 h 11361807"/>
                <a:gd name="connsiteX2" fmla="*/ 19303173 w 19348523"/>
                <a:gd name="connsiteY2" fmla="*/ 224482 h 11361807"/>
                <a:gd name="connsiteX3" fmla="*/ 17812153 w 19348523"/>
                <a:gd name="connsiteY3" fmla="*/ 424309 h 11361807"/>
                <a:gd name="connsiteX4" fmla="*/ 13923887 w 19348523"/>
                <a:gd name="connsiteY4" fmla="*/ 1169809 h 11361807"/>
                <a:gd name="connsiteX5" fmla="*/ 12563385 w 19348523"/>
                <a:gd name="connsiteY5" fmla="*/ 1675078 h 11361807"/>
                <a:gd name="connsiteX6" fmla="*/ 12183437 w 19348523"/>
                <a:gd name="connsiteY6" fmla="*/ 2226044 h 11361807"/>
                <a:gd name="connsiteX7" fmla="*/ 12905469 w 19348523"/>
                <a:gd name="connsiteY7" fmla="*/ 2906264 h 11361807"/>
                <a:gd name="connsiteX8" fmla="*/ 13825961 w 19348523"/>
                <a:gd name="connsiteY8" fmla="*/ 3740545 h 11361807"/>
                <a:gd name="connsiteX9" fmla="*/ 12951167 w 19348523"/>
                <a:gd name="connsiteY9" fmla="*/ 4581356 h 11361807"/>
                <a:gd name="connsiteX10" fmla="*/ 10762875 w 19348523"/>
                <a:gd name="connsiteY10" fmla="*/ 4785030 h 11361807"/>
                <a:gd name="connsiteX11" fmla="*/ 8239027 w 19348523"/>
                <a:gd name="connsiteY11" fmla="*/ 5321634 h 11361807"/>
                <a:gd name="connsiteX12" fmla="*/ 8368289 w 19348523"/>
                <a:gd name="connsiteY12" fmla="*/ 5499196 h 11361807"/>
                <a:gd name="connsiteX13" fmla="*/ 8851384 w 19348523"/>
                <a:gd name="connsiteY13" fmla="*/ 5901322 h 11361807"/>
                <a:gd name="connsiteX14" fmla="*/ 10281085 w 19348523"/>
                <a:gd name="connsiteY14" fmla="*/ 7759198 h 11361807"/>
                <a:gd name="connsiteX15" fmla="*/ 9880246 w 19348523"/>
                <a:gd name="connsiteY15" fmla="*/ 8774959 h 11361807"/>
                <a:gd name="connsiteX16" fmla="*/ 8783489 w 19348523"/>
                <a:gd name="connsiteY16" fmla="*/ 9551794 h 11361807"/>
                <a:gd name="connsiteX17" fmla="*/ 5627700 w 19348523"/>
                <a:gd name="connsiteY17" fmla="*/ 10704643 h 11361807"/>
                <a:gd name="connsiteX18" fmla="*/ 3922769 w 19348523"/>
                <a:gd name="connsiteY18" fmla="*/ 11257016 h 11361807"/>
                <a:gd name="connsiteX19" fmla="*/ 3637608 w 19348523"/>
                <a:gd name="connsiteY19" fmla="*/ 11361807 h 11361807"/>
                <a:gd name="connsiteX20" fmla="*/ 0 w 19348523"/>
                <a:gd name="connsiteY20" fmla="*/ 11361807 h 11361807"/>
                <a:gd name="connsiteX21" fmla="*/ 69573 w 19348523"/>
                <a:gd name="connsiteY21" fmla="*/ 11313341 h 11361807"/>
                <a:gd name="connsiteX22" fmla="*/ 1614091 w 19348523"/>
                <a:gd name="connsiteY22" fmla="*/ 10485302 h 11361807"/>
                <a:gd name="connsiteX23" fmla="*/ 5310424 w 19348523"/>
                <a:gd name="connsiteY23" fmla="*/ 9252810 h 11361807"/>
                <a:gd name="connsiteX24" fmla="*/ 7893026 w 19348523"/>
                <a:gd name="connsiteY24" fmla="*/ 8414612 h 11361807"/>
                <a:gd name="connsiteX25" fmla="*/ 8658145 w 19348523"/>
                <a:gd name="connsiteY25" fmla="*/ 7759198 h 11361807"/>
                <a:gd name="connsiteX26" fmla="*/ 7686732 w 19348523"/>
                <a:gd name="connsiteY26" fmla="*/ 6427481 h 11361807"/>
                <a:gd name="connsiteX27" fmla="*/ 6935975 w 19348523"/>
                <a:gd name="connsiteY27" fmla="*/ 5321634 h 11361807"/>
                <a:gd name="connsiteX28" fmla="*/ 8449239 w 19348523"/>
                <a:gd name="connsiteY28" fmla="*/ 4362014 h 11361807"/>
                <a:gd name="connsiteX29" fmla="*/ 10565720 w 19348523"/>
                <a:gd name="connsiteY29" fmla="*/ 4179229 h 11361807"/>
                <a:gd name="connsiteX30" fmla="*/ 12730509 w 19348523"/>
                <a:gd name="connsiteY30" fmla="*/ 3740545 h 11361807"/>
                <a:gd name="connsiteX31" fmla="*/ 12101181 w 19348523"/>
                <a:gd name="connsiteY31" fmla="*/ 3104717 h 11361807"/>
                <a:gd name="connsiteX32" fmla="*/ 11283835 w 19348523"/>
                <a:gd name="connsiteY32" fmla="*/ 2226044 h 11361807"/>
                <a:gd name="connsiteX33" fmla="*/ 11851797 w 19348523"/>
                <a:gd name="connsiteY33" fmla="*/ 1493599 h 11361807"/>
                <a:gd name="connsiteX34" fmla="*/ 13372897 w 19348523"/>
                <a:gd name="connsiteY34" fmla="*/ 967440 h 11361807"/>
                <a:gd name="connsiteX35" fmla="*/ 17338197 w 19348523"/>
                <a:gd name="connsiteY35" fmla="*/ 249358 h 11361807"/>
                <a:gd name="connsiteX36" fmla="*/ 19283963 w 19348523"/>
                <a:gd name="connsiteY36" fmla="*/ 7168 h 11361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48523" h="11361807">
                  <a:moveTo>
                    <a:pt x="19348523" y="0"/>
                  </a:moveTo>
                  <a:lnTo>
                    <a:pt x="19348523" y="218962"/>
                  </a:lnTo>
                  <a:lnTo>
                    <a:pt x="19303173" y="224482"/>
                  </a:lnTo>
                  <a:cubicBezTo>
                    <a:pt x="18827877" y="283609"/>
                    <a:pt x="18323319" y="350379"/>
                    <a:pt x="17812153" y="424309"/>
                  </a:cubicBezTo>
                  <a:cubicBezTo>
                    <a:pt x="16216631" y="654095"/>
                    <a:pt x="14892689" y="904771"/>
                    <a:pt x="13923887" y="1169809"/>
                  </a:cubicBezTo>
                  <a:cubicBezTo>
                    <a:pt x="13324587" y="1334315"/>
                    <a:pt x="12862381" y="1504044"/>
                    <a:pt x="12563385" y="1675078"/>
                  </a:cubicBezTo>
                  <a:cubicBezTo>
                    <a:pt x="12240885" y="1857864"/>
                    <a:pt x="12107709" y="2043260"/>
                    <a:pt x="12183437" y="2226044"/>
                  </a:cubicBezTo>
                  <a:cubicBezTo>
                    <a:pt x="12325753" y="2568113"/>
                    <a:pt x="12599945" y="2727396"/>
                    <a:pt x="12905469" y="2906264"/>
                  </a:cubicBezTo>
                  <a:cubicBezTo>
                    <a:pt x="13218829" y="3089049"/>
                    <a:pt x="13594859" y="3308391"/>
                    <a:pt x="13825961" y="3740545"/>
                  </a:cubicBezTo>
                  <a:cubicBezTo>
                    <a:pt x="13965669" y="3999055"/>
                    <a:pt x="13940861" y="4371153"/>
                    <a:pt x="12951167" y="4581356"/>
                  </a:cubicBezTo>
                  <a:cubicBezTo>
                    <a:pt x="12353173" y="4709305"/>
                    <a:pt x="11547579" y="4748473"/>
                    <a:pt x="10762875" y="4785030"/>
                  </a:cubicBezTo>
                  <a:cubicBezTo>
                    <a:pt x="9022425" y="4868589"/>
                    <a:pt x="8279503" y="4959981"/>
                    <a:pt x="8239027" y="5321634"/>
                  </a:cubicBezTo>
                  <a:cubicBezTo>
                    <a:pt x="8239027" y="5324245"/>
                    <a:pt x="8239027" y="5369941"/>
                    <a:pt x="8368289" y="5499196"/>
                  </a:cubicBezTo>
                  <a:cubicBezTo>
                    <a:pt x="8484492" y="5615395"/>
                    <a:pt x="8660757" y="5752483"/>
                    <a:pt x="8851384" y="5901322"/>
                  </a:cubicBezTo>
                  <a:cubicBezTo>
                    <a:pt x="9428487" y="6351755"/>
                    <a:pt x="10219719" y="6969307"/>
                    <a:pt x="10281085" y="7759198"/>
                  </a:cubicBezTo>
                  <a:cubicBezTo>
                    <a:pt x="10307198" y="8106489"/>
                    <a:pt x="10176632" y="8449863"/>
                    <a:pt x="9880246" y="8774959"/>
                  </a:cubicBezTo>
                  <a:cubicBezTo>
                    <a:pt x="9632170" y="9046525"/>
                    <a:pt x="9275724" y="9301118"/>
                    <a:pt x="8783489" y="9551794"/>
                  </a:cubicBezTo>
                  <a:cubicBezTo>
                    <a:pt x="7929585" y="9985255"/>
                    <a:pt x="6787129" y="10341685"/>
                    <a:pt x="5627700" y="10704643"/>
                  </a:cubicBezTo>
                  <a:cubicBezTo>
                    <a:pt x="5067244" y="10879921"/>
                    <a:pt x="4487938" y="11061073"/>
                    <a:pt x="3922769" y="11257016"/>
                  </a:cubicBezTo>
                  <a:lnTo>
                    <a:pt x="3637608" y="11361807"/>
                  </a:lnTo>
                  <a:lnTo>
                    <a:pt x="0" y="11361807"/>
                  </a:lnTo>
                  <a:lnTo>
                    <a:pt x="69573" y="11313341"/>
                  </a:lnTo>
                  <a:cubicBezTo>
                    <a:pt x="536674" y="11008686"/>
                    <a:pt x="1047106" y="10735978"/>
                    <a:pt x="1614091" y="10485302"/>
                  </a:cubicBezTo>
                  <a:cubicBezTo>
                    <a:pt x="2807467" y="9956532"/>
                    <a:pt x="4110519" y="9589656"/>
                    <a:pt x="5310424" y="9252810"/>
                  </a:cubicBezTo>
                  <a:cubicBezTo>
                    <a:pt x="6324924" y="8966883"/>
                    <a:pt x="7246723" y="8708373"/>
                    <a:pt x="7893026" y="8414612"/>
                  </a:cubicBezTo>
                  <a:cubicBezTo>
                    <a:pt x="8641173" y="8076460"/>
                    <a:pt x="8654228" y="7844063"/>
                    <a:pt x="8658145" y="7759198"/>
                  </a:cubicBezTo>
                  <a:cubicBezTo>
                    <a:pt x="8681647" y="7319209"/>
                    <a:pt x="8134574" y="6826996"/>
                    <a:pt x="7686732" y="6427481"/>
                  </a:cubicBezTo>
                  <a:cubicBezTo>
                    <a:pt x="7242806" y="6027966"/>
                    <a:pt x="6851107" y="5676758"/>
                    <a:pt x="6935975" y="5321634"/>
                  </a:cubicBezTo>
                  <a:cubicBezTo>
                    <a:pt x="7015622" y="4986093"/>
                    <a:pt x="7344648" y="4566994"/>
                    <a:pt x="8449239" y="4362014"/>
                  </a:cubicBezTo>
                  <a:cubicBezTo>
                    <a:pt x="9069429" y="4245815"/>
                    <a:pt x="9833243" y="4211869"/>
                    <a:pt x="10565720" y="4179229"/>
                  </a:cubicBezTo>
                  <a:cubicBezTo>
                    <a:pt x="12193881" y="4106116"/>
                    <a:pt x="12846713" y="4027779"/>
                    <a:pt x="12730509" y="3740545"/>
                  </a:cubicBezTo>
                  <a:cubicBezTo>
                    <a:pt x="12601249" y="3423284"/>
                    <a:pt x="12375369" y="3279667"/>
                    <a:pt x="12101181" y="3104717"/>
                  </a:cubicBezTo>
                  <a:cubicBezTo>
                    <a:pt x="11766929" y="2891903"/>
                    <a:pt x="11409179" y="2663421"/>
                    <a:pt x="11283835" y="2226044"/>
                  </a:cubicBezTo>
                  <a:cubicBezTo>
                    <a:pt x="11210718" y="1967534"/>
                    <a:pt x="11411790" y="1722080"/>
                    <a:pt x="11851797" y="1493599"/>
                  </a:cubicBezTo>
                  <a:cubicBezTo>
                    <a:pt x="12203021" y="1310814"/>
                    <a:pt x="12720065" y="1134558"/>
                    <a:pt x="13372897" y="967440"/>
                  </a:cubicBezTo>
                  <a:cubicBezTo>
                    <a:pt x="14378257" y="710236"/>
                    <a:pt x="15727009" y="468699"/>
                    <a:pt x="17338197" y="249358"/>
                  </a:cubicBezTo>
                  <a:cubicBezTo>
                    <a:pt x="18018449" y="156007"/>
                    <a:pt x="18684337" y="75059"/>
                    <a:pt x="19283963" y="7168"/>
                  </a:cubicBezTo>
                  <a:close/>
                </a:path>
              </a:pathLst>
            </a:custGeom>
            <a:solidFill>
              <a:srgbClr val="5959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4000" dirty="0">
                <a:latin typeface="+mj-lt"/>
              </a:endParaRPr>
            </a:p>
          </p:txBody>
        </p:sp>
        <p:sp>
          <p:nvSpPr>
            <p:cNvPr id="6" name="Freeform 8">
              <a:extLst>
                <a:ext uri="{FF2B5EF4-FFF2-40B4-BE49-F238E27FC236}">
                  <a16:creationId xmlns:a16="http://schemas.microsoft.com/office/drawing/2014/main" xmlns="" id="{AE4D87CC-6064-472B-A7CE-7CD87B49E51C}"/>
                </a:ext>
              </a:extLst>
            </p:cNvPr>
            <p:cNvSpPr>
              <a:spLocks noChangeArrowheads="1"/>
            </p:cNvSpPr>
            <p:nvPr/>
          </p:nvSpPr>
          <p:spPr bwMode="auto">
            <a:xfrm>
              <a:off x="4806335" y="1957075"/>
              <a:ext cx="7385664" cy="4283333"/>
            </a:xfrm>
            <a:custGeom>
              <a:avLst/>
              <a:gdLst>
                <a:gd name="connsiteX0" fmla="*/ 19689976 w 19689976"/>
                <a:gd name="connsiteY0" fmla="*/ 0 h 11419247"/>
                <a:gd name="connsiteX1" fmla="*/ 19689976 w 19689976"/>
                <a:gd name="connsiteY1" fmla="*/ 215360 h 11419247"/>
                <a:gd name="connsiteX2" fmla="*/ 19640824 w 19689976"/>
                <a:gd name="connsiteY2" fmla="*/ 221250 h 11419247"/>
                <a:gd name="connsiteX3" fmla="*/ 18150068 w 19689976"/>
                <a:gd name="connsiteY3" fmla="*/ 418216 h 11419247"/>
                <a:gd name="connsiteX4" fmla="*/ 14262486 w 19689976"/>
                <a:gd name="connsiteY4" fmla="*/ 1151996 h 11419247"/>
                <a:gd name="connsiteX5" fmla="*/ 12902224 w 19689976"/>
                <a:gd name="connsiteY5" fmla="*/ 1649452 h 11419247"/>
                <a:gd name="connsiteX6" fmla="*/ 12522342 w 19689976"/>
                <a:gd name="connsiteY6" fmla="*/ 2191301 h 11419247"/>
                <a:gd name="connsiteX7" fmla="*/ 13244246 w 19689976"/>
                <a:gd name="connsiteY7" fmla="*/ 2861105 h 11419247"/>
                <a:gd name="connsiteX8" fmla="*/ 14164578 w 19689976"/>
                <a:gd name="connsiteY8" fmla="*/ 3682364 h 11419247"/>
                <a:gd name="connsiteX9" fmla="*/ 13289938 w 19689976"/>
                <a:gd name="connsiteY9" fmla="*/ 4510152 h 11419247"/>
                <a:gd name="connsiteX10" fmla="*/ 11102031 w 19689976"/>
                <a:gd name="connsiteY10" fmla="*/ 4711224 h 11419247"/>
                <a:gd name="connsiteX11" fmla="*/ 8578627 w 19689976"/>
                <a:gd name="connsiteY11" fmla="*/ 5240016 h 11419247"/>
                <a:gd name="connsiteX12" fmla="*/ 8707865 w 19689976"/>
                <a:gd name="connsiteY12" fmla="*/ 5413668 h 11419247"/>
                <a:gd name="connsiteX13" fmla="*/ 9190877 w 19689976"/>
                <a:gd name="connsiteY13" fmla="*/ 5809283 h 11419247"/>
                <a:gd name="connsiteX14" fmla="*/ 10620326 w 19689976"/>
                <a:gd name="connsiteY14" fmla="*/ 7638511 h 11419247"/>
                <a:gd name="connsiteX15" fmla="*/ 10219558 w 19689976"/>
                <a:gd name="connsiteY15" fmla="*/ 8637341 h 11419247"/>
                <a:gd name="connsiteX16" fmla="*/ 9122993 w 19689976"/>
                <a:gd name="connsiteY16" fmla="*/ 9402458 h 11419247"/>
                <a:gd name="connsiteX17" fmla="*/ 5967761 w 19689976"/>
                <a:gd name="connsiteY17" fmla="*/ 10538381 h 11419247"/>
                <a:gd name="connsiteX18" fmla="*/ 3430250 w 19689976"/>
                <a:gd name="connsiteY18" fmla="*/ 11382727 h 11419247"/>
                <a:gd name="connsiteX19" fmla="*/ 3339249 w 19689976"/>
                <a:gd name="connsiteY19" fmla="*/ 11419247 h 11419247"/>
                <a:gd name="connsiteX20" fmla="*/ 0 w 19689976"/>
                <a:gd name="connsiteY20" fmla="*/ 11419247 h 11419247"/>
                <a:gd name="connsiteX21" fmla="*/ 410611 w 19689976"/>
                <a:gd name="connsiteY21" fmla="*/ 11137047 h 11419247"/>
                <a:gd name="connsiteX22" fmla="*/ 1954857 w 19689976"/>
                <a:gd name="connsiteY22" fmla="*/ 10321642 h 11419247"/>
                <a:gd name="connsiteX23" fmla="*/ 5650540 w 19689976"/>
                <a:gd name="connsiteY23" fmla="*/ 9108684 h 11419247"/>
                <a:gd name="connsiteX24" fmla="*/ 8232687 w 19689976"/>
                <a:gd name="connsiteY24" fmla="*/ 8284813 h 11419247"/>
                <a:gd name="connsiteX25" fmla="*/ 8997672 w 19689976"/>
                <a:gd name="connsiteY25" fmla="*/ 7638511 h 11419247"/>
                <a:gd name="connsiteX26" fmla="*/ 8026430 w 19689976"/>
                <a:gd name="connsiteY26" fmla="*/ 6327629 h 11419247"/>
                <a:gd name="connsiteX27" fmla="*/ 7275805 w 19689976"/>
                <a:gd name="connsiteY27" fmla="*/ 5240016 h 11419247"/>
                <a:gd name="connsiteX28" fmla="*/ 8788802 w 19689976"/>
                <a:gd name="connsiteY28" fmla="*/ 4293413 h 11419247"/>
                <a:gd name="connsiteX29" fmla="*/ 10904910 w 19689976"/>
                <a:gd name="connsiteY29" fmla="*/ 4113232 h 11419247"/>
                <a:gd name="connsiteX30" fmla="*/ 13069318 w 19689976"/>
                <a:gd name="connsiteY30" fmla="*/ 3682364 h 11419247"/>
                <a:gd name="connsiteX31" fmla="*/ 12440100 w 19689976"/>
                <a:gd name="connsiteY31" fmla="*/ 3055648 h 11419247"/>
                <a:gd name="connsiteX32" fmla="*/ 11622899 w 19689976"/>
                <a:gd name="connsiteY32" fmla="*/ 2191301 h 11419247"/>
                <a:gd name="connsiteX33" fmla="*/ 12190762 w 19689976"/>
                <a:gd name="connsiteY33" fmla="*/ 1470577 h 11419247"/>
                <a:gd name="connsiteX34" fmla="*/ 13711594 w 19689976"/>
                <a:gd name="connsiteY34" fmla="*/ 952230 h 11419247"/>
                <a:gd name="connsiteX35" fmla="*/ 17676196 w 19689976"/>
                <a:gd name="connsiteY35" fmla="*/ 244563 h 11419247"/>
                <a:gd name="connsiteX36" fmla="*/ 19621618 w 19689976"/>
                <a:gd name="connsiteY36" fmla="*/ 7423 h 1141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689976" h="11419247">
                  <a:moveTo>
                    <a:pt x="19689976" y="0"/>
                  </a:moveTo>
                  <a:lnTo>
                    <a:pt x="19689976" y="215360"/>
                  </a:lnTo>
                  <a:lnTo>
                    <a:pt x="19640824" y="221250"/>
                  </a:lnTo>
                  <a:cubicBezTo>
                    <a:pt x="19165614" y="279469"/>
                    <a:pt x="18661146" y="345262"/>
                    <a:pt x="18150068" y="418216"/>
                  </a:cubicBezTo>
                  <a:cubicBezTo>
                    <a:pt x="16554828" y="644095"/>
                    <a:pt x="15231118" y="890864"/>
                    <a:pt x="14262486" y="1151996"/>
                  </a:cubicBezTo>
                  <a:cubicBezTo>
                    <a:pt x="13663292" y="1312592"/>
                    <a:pt x="13201168" y="1479717"/>
                    <a:pt x="12902224" y="1649452"/>
                  </a:cubicBezTo>
                  <a:cubicBezTo>
                    <a:pt x="12579782" y="1829634"/>
                    <a:pt x="12446626" y="2012426"/>
                    <a:pt x="12522342" y="2191301"/>
                  </a:cubicBezTo>
                  <a:cubicBezTo>
                    <a:pt x="12664634" y="2528161"/>
                    <a:pt x="12938776" y="2686147"/>
                    <a:pt x="13244246" y="2861105"/>
                  </a:cubicBezTo>
                  <a:cubicBezTo>
                    <a:pt x="13557552" y="3041286"/>
                    <a:pt x="13933518" y="3256720"/>
                    <a:pt x="14164578" y="3682364"/>
                  </a:cubicBezTo>
                  <a:cubicBezTo>
                    <a:pt x="14304260" y="3936968"/>
                    <a:pt x="14279456" y="4303858"/>
                    <a:pt x="13289938" y="4510152"/>
                  </a:cubicBezTo>
                  <a:cubicBezTo>
                    <a:pt x="12692050" y="4635495"/>
                    <a:pt x="11886596" y="4673360"/>
                    <a:pt x="11102031" y="4711224"/>
                  </a:cubicBezTo>
                  <a:cubicBezTo>
                    <a:pt x="9361888" y="4793481"/>
                    <a:pt x="8619096" y="4882265"/>
                    <a:pt x="8578627" y="5240016"/>
                  </a:cubicBezTo>
                  <a:cubicBezTo>
                    <a:pt x="8578627" y="5241321"/>
                    <a:pt x="8578627" y="5287020"/>
                    <a:pt x="8707865" y="5413668"/>
                  </a:cubicBezTo>
                  <a:cubicBezTo>
                    <a:pt x="8824050" y="5527261"/>
                    <a:pt x="9000283" y="5663049"/>
                    <a:pt x="9190877" y="5809283"/>
                  </a:cubicBezTo>
                  <a:cubicBezTo>
                    <a:pt x="9767877" y="6253207"/>
                    <a:pt x="10558970" y="6860339"/>
                    <a:pt x="10620326" y="7638511"/>
                  </a:cubicBezTo>
                  <a:cubicBezTo>
                    <a:pt x="10646434" y="7980595"/>
                    <a:pt x="10515891" y="8317455"/>
                    <a:pt x="10219558" y="8637341"/>
                  </a:cubicBezTo>
                  <a:cubicBezTo>
                    <a:pt x="9971525" y="8905001"/>
                    <a:pt x="9615142" y="9155688"/>
                    <a:pt x="9122993" y="9402458"/>
                  </a:cubicBezTo>
                  <a:cubicBezTo>
                    <a:pt x="8269240" y="9829408"/>
                    <a:pt x="7126985" y="10180631"/>
                    <a:pt x="5967761" y="10538381"/>
                  </a:cubicBezTo>
                  <a:cubicBezTo>
                    <a:pt x="5127224" y="10796901"/>
                    <a:pt x="4244282" y="11068458"/>
                    <a:pt x="3430250" y="11382727"/>
                  </a:cubicBezTo>
                  <a:lnTo>
                    <a:pt x="3339249" y="11419247"/>
                  </a:lnTo>
                  <a:lnTo>
                    <a:pt x="0" y="11419247"/>
                  </a:lnTo>
                  <a:lnTo>
                    <a:pt x="410611" y="11137047"/>
                  </a:lnTo>
                  <a:cubicBezTo>
                    <a:pt x="877630" y="10836969"/>
                    <a:pt x="1387973" y="10569391"/>
                    <a:pt x="1954857" y="10321642"/>
                  </a:cubicBezTo>
                  <a:cubicBezTo>
                    <a:pt x="3148024" y="9800684"/>
                    <a:pt x="4450846" y="9440322"/>
                    <a:pt x="5650540" y="9108684"/>
                  </a:cubicBezTo>
                  <a:cubicBezTo>
                    <a:pt x="6664861" y="8826662"/>
                    <a:pt x="7586498" y="8572058"/>
                    <a:pt x="8232687" y="8284813"/>
                  </a:cubicBezTo>
                  <a:cubicBezTo>
                    <a:pt x="8980701" y="7949259"/>
                    <a:pt x="8993755" y="7722074"/>
                    <a:pt x="8997672" y="7638511"/>
                  </a:cubicBezTo>
                  <a:cubicBezTo>
                    <a:pt x="9021170" y="7205033"/>
                    <a:pt x="8474193" y="6723245"/>
                    <a:pt x="8026430" y="6327629"/>
                  </a:cubicBezTo>
                  <a:cubicBezTo>
                    <a:pt x="7582582" y="5934627"/>
                    <a:pt x="7190951" y="5588627"/>
                    <a:pt x="7275805" y="5240016"/>
                  </a:cubicBezTo>
                  <a:cubicBezTo>
                    <a:pt x="7355436" y="4908378"/>
                    <a:pt x="7684405" y="4497096"/>
                    <a:pt x="8788802" y="4293413"/>
                  </a:cubicBezTo>
                  <a:cubicBezTo>
                    <a:pt x="9408883" y="4179821"/>
                    <a:pt x="10172562" y="4145874"/>
                    <a:pt x="10904910" y="4113232"/>
                  </a:cubicBezTo>
                  <a:cubicBezTo>
                    <a:pt x="12532786" y="4042727"/>
                    <a:pt x="13185502" y="3964386"/>
                    <a:pt x="13069318" y="3682364"/>
                  </a:cubicBezTo>
                  <a:cubicBezTo>
                    <a:pt x="12940082" y="3370311"/>
                    <a:pt x="12714242" y="3229300"/>
                    <a:pt x="12440100" y="3055648"/>
                  </a:cubicBezTo>
                  <a:cubicBezTo>
                    <a:pt x="12105910" y="2845437"/>
                    <a:pt x="11748220" y="2622169"/>
                    <a:pt x="11622899" y="2191301"/>
                  </a:cubicBezTo>
                  <a:cubicBezTo>
                    <a:pt x="11549795" y="1938004"/>
                    <a:pt x="11750831" y="1695151"/>
                    <a:pt x="12190762" y="1470577"/>
                  </a:cubicBezTo>
                  <a:cubicBezTo>
                    <a:pt x="12541924" y="1290396"/>
                    <a:pt x="13058876" y="1116743"/>
                    <a:pt x="13711594" y="952230"/>
                  </a:cubicBezTo>
                  <a:cubicBezTo>
                    <a:pt x="14716778" y="698932"/>
                    <a:pt x="16065290" y="461302"/>
                    <a:pt x="17676196" y="244563"/>
                  </a:cubicBezTo>
                  <a:cubicBezTo>
                    <a:pt x="18356326" y="153167"/>
                    <a:pt x="19022098" y="73848"/>
                    <a:pt x="19621618" y="7423"/>
                  </a:cubicBezTo>
                  <a:close/>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4000" dirty="0">
                <a:latin typeface="+mj-lt"/>
              </a:endParaRPr>
            </a:p>
          </p:txBody>
        </p:sp>
        <p:sp>
          <p:nvSpPr>
            <p:cNvPr id="7" name="Freeform 10">
              <a:extLst>
                <a:ext uri="{FF2B5EF4-FFF2-40B4-BE49-F238E27FC236}">
                  <a16:creationId xmlns:a16="http://schemas.microsoft.com/office/drawing/2014/main" xmlns="" id="{CED0B4E3-A1BD-4A63-B899-9D7882B128C5}"/>
                </a:ext>
              </a:extLst>
            </p:cNvPr>
            <p:cNvSpPr>
              <a:spLocks noChangeArrowheads="1"/>
            </p:cNvSpPr>
            <p:nvPr/>
          </p:nvSpPr>
          <p:spPr bwMode="auto">
            <a:xfrm>
              <a:off x="5317858" y="1993973"/>
              <a:ext cx="6874142" cy="4246434"/>
            </a:xfrm>
            <a:custGeom>
              <a:avLst/>
              <a:gdLst>
                <a:gd name="connsiteX0" fmla="*/ 18326271 w 18326271"/>
                <a:gd name="connsiteY0" fmla="*/ 0 h 11320874"/>
                <a:gd name="connsiteX1" fmla="*/ 18326271 w 18326271"/>
                <a:gd name="connsiteY1" fmla="*/ 9721 h 11320874"/>
                <a:gd name="connsiteX2" fmla="*/ 18075965 w 18326271"/>
                <a:gd name="connsiteY2" fmla="*/ 38759 h 11320874"/>
                <a:gd name="connsiteX3" fmla="*/ 16586433 w 18326271"/>
                <a:gd name="connsiteY3" fmla="*/ 228947 h 11320874"/>
                <a:gd name="connsiteX4" fmla="*/ 12646293 w 18326271"/>
                <a:gd name="connsiteY4" fmla="*/ 950776 h 11320874"/>
                <a:gd name="connsiteX5" fmla="*/ 10732361 w 18326271"/>
                <a:gd name="connsiteY5" fmla="*/ 2090301 h 11320874"/>
                <a:gd name="connsiteX6" fmla="*/ 11503939 w 18326271"/>
                <a:gd name="connsiteY6" fmla="*/ 2851288 h 11320874"/>
                <a:gd name="connsiteX7" fmla="*/ 12280739 w 18326271"/>
                <a:gd name="connsiteY7" fmla="*/ 3580950 h 11320874"/>
                <a:gd name="connsiteX8" fmla="*/ 11624049 w 18326271"/>
                <a:gd name="connsiteY8" fmla="*/ 4143533 h 11320874"/>
                <a:gd name="connsiteX9" fmla="*/ 9643535 w 18326271"/>
                <a:gd name="connsiteY9" fmla="*/ 4314526 h 11320874"/>
                <a:gd name="connsiteX10" fmla="*/ 7623854 w 18326271"/>
                <a:gd name="connsiteY10" fmla="*/ 4486826 h 11320874"/>
                <a:gd name="connsiteX11" fmla="*/ 6595083 w 18326271"/>
                <a:gd name="connsiteY11" fmla="*/ 5138168 h 11320874"/>
                <a:gd name="connsiteX12" fmla="*/ 7288328 w 18326271"/>
                <a:gd name="connsiteY12" fmla="*/ 5948758 h 11320874"/>
                <a:gd name="connsiteX13" fmla="*/ 8484209 w 18326271"/>
                <a:gd name="connsiteY13" fmla="*/ 7535998 h 11320874"/>
                <a:gd name="connsiteX14" fmla="*/ 7317051 w 18326271"/>
                <a:gd name="connsiteY14" fmla="*/ 8742092 h 11320874"/>
                <a:gd name="connsiteX15" fmla="*/ 4447459 w 18326271"/>
                <a:gd name="connsiteY15" fmla="*/ 9715844 h 11320874"/>
                <a:gd name="connsiteX16" fmla="*/ 285001 w 18326271"/>
                <a:gd name="connsiteY16" fmla="*/ 11239536 h 11320874"/>
                <a:gd name="connsiteX17" fmla="*/ 142245 w 18326271"/>
                <a:gd name="connsiteY17" fmla="*/ 11320874 h 11320874"/>
                <a:gd name="connsiteX18" fmla="*/ 0 w 18326271"/>
                <a:gd name="connsiteY18" fmla="*/ 11320874 h 11320874"/>
                <a:gd name="connsiteX19" fmla="*/ 227877 w 18326271"/>
                <a:gd name="connsiteY19" fmla="*/ 11190623 h 11320874"/>
                <a:gd name="connsiteX20" fmla="*/ 4433097 w 18326271"/>
                <a:gd name="connsiteY20" fmla="*/ 9653190 h 11320874"/>
                <a:gd name="connsiteX21" fmla="*/ 8412404 w 18326271"/>
                <a:gd name="connsiteY21" fmla="*/ 7535998 h 11320874"/>
                <a:gd name="connsiteX22" fmla="*/ 7236106 w 18326271"/>
                <a:gd name="connsiteY22" fmla="*/ 5972253 h 11320874"/>
                <a:gd name="connsiteX23" fmla="*/ 6537639 w 18326271"/>
                <a:gd name="connsiteY23" fmla="*/ 5138168 h 11320874"/>
                <a:gd name="connsiteX24" fmla="*/ 7605576 w 18326271"/>
                <a:gd name="connsiteY24" fmla="*/ 4460719 h 11320874"/>
                <a:gd name="connsiteX25" fmla="*/ 9635701 w 18326271"/>
                <a:gd name="connsiteY25" fmla="*/ 4287115 h 11320874"/>
                <a:gd name="connsiteX26" fmla="*/ 11596633 w 18326271"/>
                <a:gd name="connsiteY26" fmla="*/ 4118731 h 11320874"/>
                <a:gd name="connsiteX27" fmla="*/ 12232433 w 18326271"/>
                <a:gd name="connsiteY27" fmla="*/ 3580950 h 11320874"/>
                <a:gd name="connsiteX28" fmla="*/ 11468689 w 18326271"/>
                <a:gd name="connsiteY28" fmla="*/ 2860425 h 11320874"/>
                <a:gd name="connsiteX29" fmla="*/ 10691889 w 18326271"/>
                <a:gd name="connsiteY29" fmla="*/ 2090301 h 11320874"/>
                <a:gd name="connsiteX30" fmla="*/ 11167109 w 18326271"/>
                <a:gd name="connsiteY30" fmla="*/ 1452010 h 11320874"/>
                <a:gd name="connsiteX31" fmla="*/ 12620181 w 18326271"/>
                <a:gd name="connsiteY31" fmla="*/ 942944 h 11320874"/>
                <a:gd name="connsiteX32" fmla="*/ 16564239 w 18326271"/>
                <a:gd name="connsiteY32" fmla="*/ 222420 h 11320874"/>
                <a:gd name="connsiteX33" fmla="*/ 18052371 w 18326271"/>
                <a:gd name="connsiteY33" fmla="*/ 31888 h 1132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326271" h="11320874">
                  <a:moveTo>
                    <a:pt x="18326271" y="0"/>
                  </a:moveTo>
                  <a:lnTo>
                    <a:pt x="18326271" y="9721"/>
                  </a:lnTo>
                  <a:lnTo>
                    <a:pt x="18075965" y="38759"/>
                  </a:lnTo>
                  <a:cubicBezTo>
                    <a:pt x="17601945" y="94950"/>
                    <a:pt x="17098043" y="158461"/>
                    <a:pt x="16586433" y="228947"/>
                  </a:cubicBezTo>
                  <a:cubicBezTo>
                    <a:pt x="14977999" y="452153"/>
                    <a:pt x="13635897" y="693633"/>
                    <a:pt x="12646293" y="950776"/>
                  </a:cubicBezTo>
                  <a:cubicBezTo>
                    <a:pt x="11280689" y="1305817"/>
                    <a:pt x="10588750" y="1689574"/>
                    <a:pt x="10732361" y="2090301"/>
                  </a:cubicBezTo>
                  <a:cubicBezTo>
                    <a:pt x="10869443" y="2472753"/>
                    <a:pt x="11184081" y="2659410"/>
                    <a:pt x="11503939" y="2851288"/>
                  </a:cubicBezTo>
                  <a:cubicBezTo>
                    <a:pt x="11805521" y="3031419"/>
                    <a:pt x="12101879" y="3210246"/>
                    <a:pt x="12280739" y="3580950"/>
                  </a:cubicBezTo>
                  <a:cubicBezTo>
                    <a:pt x="12407377" y="3840704"/>
                    <a:pt x="12197185" y="4027361"/>
                    <a:pt x="11624049" y="4143533"/>
                  </a:cubicBezTo>
                  <a:cubicBezTo>
                    <a:pt x="11108357" y="4247956"/>
                    <a:pt x="10366807" y="4281894"/>
                    <a:pt x="9643535" y="4314526"/>
                  </a:cubicBezTo>
                  <a:cubicBezTo>
                    <a:pt x="8928095" y="4347158"/>
                    <a:pt x="8181322" y="4381096"/>
                    <a:pt x="7623854" y="4486826"/>
                  </a:cubicBezTo>
                  <a:cubicBezTo>
                    <a:pt x="6981525" y="4609524"/>
                    <a:pt x="6652527" y="4811845"/>
                    <a:pt x="6595083" y="5138168"/>
                  </a:cubicBezTo>
                  <a:cubicBezTo>
                    <a:pt x="6558527" y="5350932"/>
                    <a:pt x="6901886" y="5632876"/>
                    <a:pt x="7288328" y="5948758"/>
                  </a:cubicBezTo>
                  <a:cubicBezTo>
                    <a:pt x="7818381" y="6383421"/>
                    <a:pt x="8475070" y="6919898"/>
                    <a:pt x="8484209" y="7535998"/>
                  </a:cubicBezTo>
                  <a:cubicBezTo>
                    <a:pt x="8490737" y="7965441"/>
                    <a:pt x="8119961" y="8363556"/>
                    <a:pt x="7317051" y="8742092"/>
                  </a:cubicBezTo>
                  <a:cubicBezTo>
                    <a:pt x="6566362" y="9097133"/>
                    <a:pt x="5559784" y="9390825"/>
                    <a:pt x="4447459" y="9715844"/>
                  </a:cubicBezTo>
                  <a:cubicBezTo>
                    <a:pt x="3055094" y="10122607"/>
                    <a:pt x="1548717" y="10562823"/>
                    <a:pt x="285001" y="11239536"/>
                  </a:cubicBezTo>
                  <a:lnTo>
                    <a:pt x="142245" y="11320874"/>
                  </a:lnTo>
                  <a:lnTo>
                    <a:pt x="0" y="11320874"/>
                  </a:lnTo>
                  <a:lnTo>
                    <a:pt x="227877" y="11190623"/>
                  </a:lnTo>
                  <a:cubicBezTo>
                    <a:pt x="1509204" y="10502464"/>
                    <a:pt x="3028982" y="10060687"/>
                    <a:pt x="4433097" y="9653190"/>
                  </a:cubicBezTo>
                  <a:cubicBezTo>
                    <a:pt x="6567666" y="9031868"/>
                    <a:pt x="8420237" y="8492781"/>
                    <a:pt x="8412404" y="7535998"/>
                  </a:cubicBezTo>
                  <a:cubicBezTo>
                    <a:pt x="8405876" y="6935562"/>
                    <a:pt x="7759631" y="6403000"/>
                    <a:pt x="7236106" y="5972253"/>
                  </a:cubicBezTo>
                  <a:cubicBezTo>
                    <a:pt x="6828776" y="5635486"/>
                    <a:pt x="6495861" y="5362680"/>
                    <a:pt x="6537639" y="5138168"/>
                  </a:cubicBezTo>
                  <a:cubicBezTo>
                    <a:pt x="6597694" y="4802707"/>
                    <a:pt x="6950193" y="4586028"/>
                    <a:pt x="7605576" y="4460719"/>
                  </a:cubicBezTo>
                  <a:cubicBezTo>
                    <a:pt x="8169572" y="4353685"/>
                    <a:pt x="8917651" y="4321052"/>
                    <a:pt x="9635701" y="4287115"/>
                  </a:cubicBezTo>
                  <a:cubicBezTo>
                    <a:pt x="10352446" y="4255788"/>
                    <a:pt x="11087469" y="4221850"/>
                    <a:pt x="11596633" y="4118731"/>
                  </a:cubicBezTo>
                  <a:cubicBezTo>
                    <a:pt x="12155407" y="4006476"/>
                    <a:pt x="12352545" y="3832872"/>
                    <a:pt x="12232433" y="3580950"/>
                  </a:cubicBezTo>
                  <a:cubicBezTo>
                    <a:pt x="12057491" y="3215466"/>
                    <a:pt x="11765049" y="3039252"/>
                    <a:pt x="11468689" y="2860425"/>
                  </a:cubicBezTo>
                  <a:cubicBezTo>
                    <a:pt x="11146219" y="2667241"/>
                    <a:pt x="10828971" y="2475363"/>
                    <a:pt x="10691889" y="2090301"/>
                  </a:cubicBezTo>
                  <a:cubicBezTo>
                    <a:pt x="10614861" y="1871010"/>
                    <a:pt x="10781971" y="1656942"/>
                    <a:pt x="11167109" y="1452010"/>
                  </a:cubicBezTo>
                  <a:cubicBezTo>
                    <a:pt x="11494801" y="1277100"/>
                    <a:pt x="11989601" y="1106106"/>
                    <a:pt x="12620181" y="942944"/>
                  </a:cubicBezTo>
                  <a:cubicBezTo>
                    <a:pt x="13611091" y="685801"/>
                    <a:pt x="14954499" y="443016"/>
                    <a:pt x="16564239" y="222420"/>
                  </a:cubicBezTo>
                  <a:cubicBezTo>
                    <a:pt x="17075361" y="151934"/>
                    <a:pt x="17578771" y="88240"/>
                    <a:pt x="18052371" y="31888"/>
                  </a:cubicBezTo>
                  <a:close/>
                </a:path>
              </a:pathLst>
            </a:custGeom>
            <a:solidFill>
              <a:srgbClr val="E8E8E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4000" dirty="0">
                <a:latin typeface="+mj-lt"/>
              </a:endParaRPr>
            </a:p>
          </p:txBody>
        </p:sp>
        <p:grpSp>
          <p:nvGrpSpPr>
            <p:cNvPr id="8" name="Group 13">
              <a:extLst>
                <a:ext uri="{FF2B5EF4-FFF2-40B4-BE49-F238E27FC236}">
                  <a16:creationId xmlns:a16="http://schemas.microsoft.com/office/drawing/2014/main" xmlns="" id="{C419A44C-80E4-4302-AC3A-1844E99A8FFF}"/>
                </a:ext>
              </a:extLst>
            </p:cNvPr>
            <p:cNvGrpSpPr/>
            <p:nvPr/>
          </p:nvGrpSpPr>
          <p:grpSpPr>
            <a:xfrm>
              <a:off x="5214445" y="4998549"/>
              <a:ext cx="686905" cy="686905"/>
              <a:chOff x="6203917" y="6068451"/>
              <a:chExt cx="2527366" cy="2527366"/>
            </a:xfrm>
          </p:grpSpPr>
          <p:sp>
            <p:nvSpPr>
              <p:cNvPr id="9" name="Teardrop 14">
                <a:extLst>
                  <a:ext uri="{FF2B5EF4-FFF2-40B4-BE49-F238E27FC236}">
                    <a16:creationId xmlns:a16="http://schemas.microsoft.com/office/drawing/2014/main" xmlns="" id="{3BCD7A1B-EB0C-4E11-8D7B-DD3AE3FFE6CD}"/>
                  </a:ext>
                </a:extLst>
              </p:cNvPr>
              <p:cNvSpPr/>
              <p:nvPr/>
            </p:nvSpPr>
            <p:spPr>
              <a:xfrm rot="8100000">
                <a:off x="6203917" y="6068451"/>
                <a:ext cx="2527366" cy="2527366"/>
              </a:xfrm>
              <a:prstGeom prst="teardrop">
                <a:avLst>
                  <a:gd name="adj" fmla="val 1183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10" name="Oval 15">
                <a:extLst>
                  <a:ext uri="{FF2B5EF4-FFF2-40B4-BE49-F238E27FC236}">
                    <a16:creationId xmlns:a16="http://schemas.microsoft.com/office/drawing/2014/main" xmlns="" id="{2E731937-7840-4916-930B-5659480156CE}"/>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grpSp>
          <p:nvGrpSpPr>
            <p:cNvPr id="12" name="Group 17">
              <a:extLst>
                <a:ext uri="{FF2B5EF4-FFF2-40B4-BE49-F238E27FC236}">
                  <a16:creationId xmlns:a16="http://schemas.microsoft.com/office/drawing/2014/main" xmlns="" id="{5A46975B-F6B0-403D-9E29-644134494278}"/>
                </a:ext>
              </a:extLst>
            </p:cNvPr>
            <p:cNvGrpSpPr/>
            <p:nvPr/>
          </p:nvGrpSpPr>
          <p:grpSpPr>
            <a:xfrm>
              <a:off x="7975987" y="4417373"/>
              <a:ext cx="686905" cy="686905"/>
              <a:chOff x="6203917" y="6068451"/>
              <a:chExt cx="2527366" cy="2527366"/>
            </a:xfrm>
          </p:grpSpPr>
          <p:sp>
            <p:nvSpPr>
              <p:cNvPr id="13" name="Teardrop 18">
                <a:extLst>
                  <a:ext uri="{FF2B5EF4-FFF2-40B4-BE49-F238E27FC236}">
                    <a16:creationId xmlns:a16="http://schemas.microsoft.com/office/drawing/2014/main" xmlns="" id="{D51FCC84-3915-4D59-83C3-E9E6FDE8D5B4}"/>
                  </a:ext>
                </a:extLst>
              </p:cNvPr>
              <p:cNvSpPr/>
              <p:nvPr/>
            </p:nvSpPr>
            <p:spPr>
              <a:xfrm rot="8100000">
                <a:off x="6203917" y="6068451"/>
                <a:ext cx="2527366" cy="2527366"/>
              </a:xfrm>
              <a:prstGeom prst="teardrop">
                <a:avLst>
                  <a:gd name="adj" fmla="val 11836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14" name="Oval 19">
                <a:extLst>
                  <a:ext uri="{FF2B5EF4-FFF2-40B4-BE49-F238E27FC236}">
                    <a16:creationId xmlns:a16="http://schemas.microsoft.com/office/drawing/2014/main" xmlns="" id="{82A4564A-D99D-4240-8E84-6A88228A262E}"/>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grpSp>
          <p:nvGrpSpPr>
            <p:cNvPr id="16" name="Group 21">
              <a:extLst>
                <a:ext uri="{FF2B5EF4-FFF2-40B4-BE49-F238E27FC236}">
                  <a16:creationId xmlns:a16="http://schemas.microsoft.com/office/drawing/2014/main" xmlns="" id="{A342CC78-1410-46A7-AD38-859644D75909}"/>
                </a:ext>
              </a:extLst>
            </p:cNvPr>
            <p:cNvGrpSpPr/>
            <p:nvPr/>
          </p:nvGrpSpPr>
          <p:grpSpPr>
            <a:xfrm>
              <a:off x="7443876" y="2981083"/>
              <a:ext cx="686905" cy="686905"/>
              <a:chOff x="6203917" y="6068451"/>
              <a:chExt cx="2527366" cy="2527366"/>
            </a:xfrm>
          </p:grpSpPr>
          <p:sp>
            <p:nvSpPr>
              <p:cNvPr id="17" name="Teardrop 22">
                <a:extLst>
                  <a:ext uri="{FF2B5EF4-FFF2-40B4-BE49-F238E27FC236}">
                    <a16:creationId xmlns:a16="http://schemas.microsoft.com/office/drawing/2014/main" xmlns="" id="{2BD3622F-070F-48BC-9FFF-A14CD0F1880E}"/>
                  </a:ext>
                </a:extLst>
              </p:cNvPr>
              <p:cNvSpPr/>
              <p:nvPr/>
            </p:nvSpPr>
            <p:spPr>
              <a:xfrm rot="8100000">
                <a:off x="6203917" y="6068451"/>
                <a:ext cx="2527366" cy="2527366"/>
              </a:xfrm>
              <a:prstGeom prst="teardrop">
                <a:avLst>
                  <a:gd name="adj" fmla="val 11836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18" name="Oval 23">
                <a:extLst>
                  <a:ext uri="{FF2B5EF4-FFF2-40B4-BE49-F238E27FC236}">
                    <a16:creationId xmlns:a16="http://schemas.microsoft.com/office/drawing/2014/main" xmlns="" id="{F4123B4C-F416-4E2C-8BD8-036456052114}"/>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grpSp>
          <p:nvGrpSpPr>
            <p:cNvPr id="20" name="Group 25">
              <a:extLst>
                <a:ext uri="{FF2B5EF4-FFF2-40B4-BE49-F238E27FC236}">
                  <a16:creationId xmlns:a16="http://schemas.microsoft.com/office/drawing/2014/main" xmlns="" id="{687073AB-686D-41E2-9C2C-51410A88DC16}"/>
                </a:ext>
              </a:extLst>
            </p:cNvPr>
            <p:cNvGrpSpPr/>
            <p:nvPr/>
          </p:nvGrpSpPr>
          <p:grpSpPr>
            <a:xfrm>
              <a:off x="9618681" y="2533291"/>
              <a:ext cx="686905" cy="686905"/>
              <a:chOff x="6203917" y="6068451"/>
              <a:chExt cx="2527366" cy="2527366"/>
            </a:xfrm>
          </p:grpSpPr>
          <p:sp>
            <p:nvSpPr>
              <p:cNvPr id="21" name="Teardrop 26">
                <a:extLst>
                  <a:ext uri="{FF2B5EF4-FFF2-40B4-BE49-F238E27FC236}">
                    <a16:creationId xmlns:a16="http://schemas.microsoft.com/office/drawing/2014/main" xmlns="" id="{C675F6D4-A66A-484E-A309-8DF43A49319F}"/>
                  </a:ext>
                </a:extLst>
              </p:cNvPr>
              <p:cNvSpPr/>
              <p:nvPr/>
            </p:nvSpPr>
            <p:spPr>
              <a:xfrm rot="8100000">
                <a:off x="6203917" y="6068451"/>
                <a:ext cx="2527366" cy="2527366"/>
              </a:xfrm>
              <a:prstGeom prst="teardrop">
                <a:avLst>
                  <a:gd name="adj" fmla="val 11836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22" name="Oval 27">
                <a:extLst>
                  <a:ext uri="{FF2B5EF4-FFF2-40B4-BE49-F238E27FC236}">
                    <a16:creationId xmlns:a16="http://schemas.microsoft.com/office/drawing/2014/main" xmlns="" id="{CAC09260-1CF7-4454-BB97-BFC964F3AEB3}"/>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sp>
          <p:nvSpPr>
            <p:cNvPr id="25" name="Subtitle 2">
              <a:extLst>
                <a:ext uri="{FF2B5EF4-FFF2-40B4-BE49-F238E27FC236}">
                  <a16:creationId xmlns:a16="http://schemas.microsoft.com/office/drawing/2014/main" xmlns="" id="{FC7025B7-E5BE-43F0-8BCE-47C7C29514E7}"/>
                </a:ext>
              </a:extLst>
            </p:cNvPr>
            <p:cNvSpPr txBox="1">
              <a:spLocks/>
            </p:cNvSpPr>
            <p:nvPr/>
          </p:nvSpPr>
          <p:spPr>
            <a:xfrm>
              <a:off x="4646106" y="3226349"/>
              <a:ext cx="1174038" cy="17249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It is not enough to define only short to medium-term measures</a:t>
              </a:r>
            </a:p>
          </p:txBody>
        </p:sp>
        <p:sp>
          <p:nvSpPr>
            <p:cNvPr id="27" name="Subtitle 2">
              <a:extLst>
                <a:ext uri="{FF2B5EF4-FFF2-40B4-BE49-F238E27FC236}">
                  <a16:creationId xmlns:a16="http://schemas.microsoft.com/office/drawing/2014/main" xmlns="" id="{A3F83685-4145-4166-BE15-DD0C2D05726E}"/>
                </a:ext>
              </a:extLst>
            </p:cNvPr>
            <p:cNvSpPr txBox="1">
              <a:spLocks/>
            </p:cNvSpPr>
            <p:nvPr/>
          </p:nvSpPr>
          <p:spPr>
            <a:xfrm>
              <a:off x="8852753" y="3812979"/>
              <a:ext cx="1286199" cy="196701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Compliance with time and financial requirements is necessary for the success of the renovation</a:t>
              </a:r>
            </a:p>
          </p:txBody>
        </p:sp>
        <p:sp>
          <p:nvSpPr>
            <p:cNvPr id="29" name="Subtitle 2">
              <a:extLst>
                <a:ext uri="{FF2B5EF4-FFF2-40B4-BE49-F238E27FC236}">
                  <a16:creationId xmlns:a16="http://schemas.microsoft.com/office/drawing/2014/main" xmlns="" id="{8D1038B9-D6FC-4DC0-B291-0FD9090B65BE}"/>
                </a:ext>
              </a:extLst>
            </p:cNvPr>
            <p:cNvSpPr txBox="1">
              <a:spLocks/>
            </p:cNvSpPr>
            <p:nvPr/>
          </p:nvSpPr>
          <p:spPr>
            <a:xfrm>
              <a:off x="10383571" y="2685655"/>
              <a:ext cx="1653982" cy="293538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If the company crisis is already well advanced, then a possible insolvency procedure must also be examined as a restructuring strategy for the company. Evaluate and compare both scenarios</a:t>
              </a:r>
            </a:p>
          </p:txBody>
        </p:sp>
        <p:sp>
          <p:nvSpPr>
            <p:cNvPr id="31" name="Subtitle 2">
              <a:extLst>
                <a:ext uri="{FF2B5EF4-FFF2-40B4-BE49-F238E27FC236}">
                  <a16:creationId xmlns:a16="http://schemas.microsoft.com/office/drawing/2014/main" xmlns="" id="{2AF1BC7B-374A-463D-A5B4-C6B8C5D86541}"/>
                </a:ext>
              </a:extLst>
            </p:cNvPr>
            <p:cNvSpPr txBox="1">
              <a:spLocks/>
            </p:cNvSpPr>
            <p:nvPr/>
          </p:nvSpPr>
          <p:spPr>
            <a:xfrm>
              <a:off x="6136504" y="1957074"/>
              <a:ext cx="1286199" cy="269328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Furthermore, all causes of crises, i.e. also the causes from preceding or parallel stages of crises, are to be sustainably eliminated</a:t>
              </a:r>
            </a:p>
          </p:txBody>
        </p:sp>
      </p:grpSp>
      <p:sp>
        <p:nvSpPr>
          <p:cNvPr id="34" name="TextBox 29">
            <a:extLst>
              <a:ext uri="{FF2B5EF4-FFF2-40B4-BE49-F238E27FC236}">
                <a16:creationId xmlns:a16="http://schemas.microsoft.com/office/drawing/2014/main" xmlns="" id="{17656A79-123A-4980-9EDB-D243057F1C0A}"/>
              </a:ext>
            </a:extLst>
          </p:cNvPr>
          <p:cNvSpPr txBox="1"/>
          <p:nvPr/>
        </p:nvSpPr>
        <p:spPr>
          <a:xfrm>
            <a:off x="1028964" y="810890"/>
            <a:ext cx="8735521" cy="523220"/>
          </a:xfrm>
          <a:prstGeom prst="rect">
            <a:avLst/>
          </a:prstGeom>
          <a:noFill/>
        </p:spPr>
        <p:txBody>
          <a:bodyPr wrap="square" rtlCol="0" anchor="b" anchorCtr="0">
            <a:spAutoFit/>
          </a:bodyPr>
          <a:lstStyle/>
          <a:p>
            <a:r>
              <a:rPr lang="en-GB" sz="2800" b="1" dirty="0">
                <a:solidFill>
                  <a:schemeClr val="tx2"/>
                </a:solidFill>
                <a:latin typeface="+mj-lt"/>
                <a:ea typeface="League Spartan" charset="0"/>
                <a:cs typeface="Poppins" pitchFamily="2" charset="77"/>
              </a:rPr>
              <a:t>Conditions for successful restructuring measures</a:t>
            </a:r>
          </a:p>
        </p:txBody>
      </p:sp>
    </p:spTree>
    <p:extLst>
      <p:ext uri="{BB962C8B-B14F-4D97-AF65-F5344CB8AC3E}">
        <p14:creationId xmlns:p14="http://schemas.microsoft.com/office/powerpoint/2010/main" val="13293462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5096" y="524626"/>
            <a:ext cx="8852375" cy="697353"/>
          </a:xfrm>
        </p:spPr>
        <p:txBody>
          <a:bodyPr>
            <a:normAutofit/>
          </a:bodyPr>
          <a:lstStyle/>
          <a:p>
            <a:r>
              <a:rPr lang="en-GB" dirty="0"/>
              <a:t>Restructuring Concept: Get the Fact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7176" y="1738478"/>
            <a:ext cx="2871709" cy="482213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very good concept is based on hard facts. Even if time is short, you should first concentrate on conducting a sound analysis. However, you should first concentrate on the facts that are particularly relevant to the restructuring and draw on data that is already available in the company. </a:t>
            </a:r>
            <a:endParaRPr lang="en-US" dirty="0">
              <a:solidFill>
                <a:srgbClr val="245473"/>
              </a:solidFill>
            </a:endParaRPr>
          </a:p>
        </p:txBody>
      </p:sp>
      <p:graphicFrame>
        <p:nvGraphicFramePr>
          <p:cNvPr id="72" name="object 15">
            <a:extLst>
              <a:ext uri="{FF2B5EF4-FFF2-40B4-BE49-F238E27FC236}">
                <a16:creationId xmlns:a16="http://schemas.microsoft.com/office/drawing/2014/main" xmlns="" id="{377308A6-0CD9-4575-8764-110B9EB55692}"/>
              </a:ext>
            </a:extLst>
          </p:cNvPr>
          <p:cNvGraphicFramePr>
            <a:graphicFrameLocks noGrp="1"/>
          </p:cNvGraphicFramePr>
          <p:nvPr>
            <p:extLst>
              <p:ext uri="{D42A27DB-BD31-4B8C-83A1-F6EECF244321}">
                <p14:modId xmlns:p14="http://schemas.microsoft.com/office/powerpoint/2010/main" val="303934601"/>
              </p:ext>
            </p:extLst>
          </p:nvPr>
        </p:nvGraphicFramePr>
        <p:xfrm>
          <a:off x="3513643" y="1911639"/>
          <a:ext cx="8229600" cy="4118555"/>
        </p:xfrm>
        <a:graphic>
          <a:graphicData uri="http://schemas.openxmlformats.org/drawingml/2006/table">
            <a:tbl>
              <a:tblPr firstRow="1" bandRow="1">
                <a:tableStyleId>{69012ECD-51FC-41F1-AA8D-1B2483CD663E}</a:tableStyleId>
              </a:tblPr>
              <a:tblGrid>
                <a:gridCol w="8229600">
                  <a:extLst>
                    <a:ext uri="{9D8B030D-6E8A-4147-A177-3AD203B41FA5}">
                      <a16:colId xmlns:a16="http://schemas.microsoft.com/office/drawing/2014/main" xmlns="" val="20000"/>
                    </a:ext>
                  </a:extLst>
                </a:gridCol>
              </a:tblGrid>
              <a:tr h="423490">
                <a:tc>
                  <a:txBody>
                    <a:bodyPr/>
                    <a:lstStyle/>
                    <a:p>
                      <a:pPr marL="91440">
                        <a:lnSpc>
                          <a:spcPct val="100000"/>
                        </a:lnSpc>
                        <a:spcBef>
                          <a:spcPts val="715"/>
                        </a:spcBef>
                      </a:pPr>
                      <a:r>
                        <a:rPr lang="en-GB" sz="2000" spc="-5" dirty="0">
                          <a:latin typeface="+mj-lt"/>
                        </a:rPr>
                        <a:t>Overview of the company situation</a:t>
                      </a:r>
                      <a:endParaRPr lang="en-GB" sz="2000" b="1" spc="-5" dirty="0">
                        <a:solidFill>
                          <a:srgbClr val="FFFFFF"/>
                        </a:solidFill>
                        <a:latin typeface="+mj-lt"/>
                        <a:cs typeface="Arial"/>
                      </a:endParaRPr>
                    </a:p>
                  </a:txBody>
                  <a:tcPr marL="0" marR="0" marT="90805" marB="0"/>
                </a:tc>
                <a:extLst>
                  <a:ext uri="{0D108BD9-81ED-4DB2-BD59-A6C34878D82A}">
                    <a16:rowId xmlns:a16="http://schemas.microsoft.com/office/drawing/2014/main" xmlns="" val="10000"/>
                  </a:ext>
                </a:extLst>
              </a:tr>
              <a:tr h="744697">
                <a:tc>
                  <a:txBody>
                    <a:bodyPr/>
                    <a:lstStyle/>
                    <a:p>
                      <a:pPr marL="551180" marR="490220" indent="-285115">
                        <a:lnSpc>
                          <a:spcPct val="100000"/>
                        </a:lnSpc>
                        <a:spcBef>
                          <a:spcPts val="320"/>
                        </a:spcBef>
                        <a:buFont typeface="Wingdings"/>
                        <a:buChar char=""/>
                        <a:tabLst>
                          <a:tab pos="551180" algn="l"/>
                          <a:tab pos="551815" algn="l"/>
                        </a:tabLst>
                      </a:pPr>
                      <a:r>
                        <a:rPr lang="en-GB" sz="2000" spc="-5" dirty="0">
                          <a:solidFill>
                            <a:srgbClr val="245473"/>
                          </a:solidFill>
                          <a:latin typeface="+mj-lt"/>
                        </a:rPr>
                        <a:t>The results of the analysis provide the basis for determining the necessary framework for action as a basis for defining the mission statement of the restructured company and the measures required for implementation</a:t>
                      </a:r>
                      <a:endParaRPr lang="en-GB" sz="2000" dirty="0">
                        <a:solidFill>
                          <a:srgbClr val="245473"/>
                        </a:solidFill>
                        <a:latin typeface="+mj-lt"/>
                        <a:cs typeface="Arial"/>
                      </a:endParaRPr>
                    </a:p>
                  </a:txBody>
                  <a:tcPr marL="0" marR="0" marT="40640" marB="0"/>
                </a:tc>
                <a:extLst>
                  <a:ext uri="{0D108BD9-81ED-4DB2-BD59-A6C34878D82A}">
                    <a16:rowId xmlns:a16="http://schemas.microsoft.com/office/drawing/2014/main" xmlns="" val="10001"/>
                  </a:ext>
                </a:extLst>
              </a:tr>
              <a:tr h="721648">
                <a:tc>
                  <a:txBody>
                    <a:bodyPr/>
                    <a:lstStyle/>
                    <a:p>
                      <a:pPr marL="556260" indent="-285750">
                        <a:lnSpc>
                          <a:spcPct val="100000"/>
                        </a:lnSpc>
                        <a:spcBef>
                          <a:spcPts val="325"/>
                        </a:spcBef>
                        <a:buFont typeface="Wingdings"/>
                        <a:buChar char=""/>
                        <a:tabLst>
                          <a:tab pos="556260" algn="l"/>
                          <a:tab pos="556895" algn="l"/>
                        </a:tabLst>
                      </a:pPr>
                      <a:r>
                        <a:rPr lang="en-GB" sz="2000" spc="-5" dirty="0">
                          <a:solidFill>
                            <a:srgbClr val="245473"/>
                          </a:solidFill>
                          <a:latin typeface="+mj-lt"/>
                        </a:rPr>
                        <a:t>Following Methods can be used to draw the first analysis:</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rPr>
                        <a:t>Portfolio-Analysis</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rPr>
                        <a:t>SWOT-Analysis</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rPr>
                        <a:t>Value-Chain-Analysis</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cs typeface="Arial"/>
                        </a:rPr>
                        <a:t>Industry Analysis</a:t>
                      </a:r>
                      <a:endParaRPr lang="en-GB" sz="2000" b="0" dirty="0">
                        <a:solidFill>
                          <a:srgbClr val="245473"/>
                        </a:solidFill>
                        <a:latin typeface="+mj-lt"/>
                        <a:cs typeface="Arial"/>
                      </a:endParaRPr>
                    </a:p>
                  </a:txBody>
                  <a:tcPr marL="0" marR="0" marT="41275" marB="0"/>
                </a:tc>
                <a:extLst>
                  <a:ext uri="{0D108BD9-81ED-4DB2-BD59-A6C34878D82A}">
                    <a16:rowId xmlns:a16="http://schemas.microsoft.com/office/drawing/2014/main" xmlns="" val="10002"/>
                  </a:ext>
                </a:extLst>
              </a:tr>
              <a:tr h="423489">
                <a:tc>
                  <a:txBody>
                    <a:bodyPr/>
                    <a:lstStyle/>
                    <a:p>
                      <a:pPr marL="556260" indent="-285750">
                        <a:lnSpc>
                          <a:spcPct val="100000"/>
                        </a:lnSpc>
                        <a:spcBef>
                          <a:spcPts val="850"/>
                        </a:spcBef>
                        <a:buFont typeface="Wingdings"/>
                        <a:buChar char=""/>
                        <a:tabLst>
                          <a:tab pos="556260" algn="l"/>
                          <a:tab pos="556895" algn="l"/>
                        </a:tabLst>
                      </a:pPr>
                      <a:r>
                        <a:rPr lang="en-GB" sz="2000" spc="-10" dirty="0">
                          <a:solidFill>
                            <a:srgbClr val="245473"/>
                          </a:solidFill>
                          <a:latin typeface="+mj-lt"/>
                        </a:rPr>
                        <a:t>Which Methods you use is up to you and depends on the pressure of the crisis (available time) and the available date</a:t>
                      </a:r>
                      <a:endParaRPr lang="en-GB" sz="2000" dirty="0">
                        <a:solidFill>
                          <a:srgbClr val="245473"/>
                        </a:solidFill>
                        <a:latin typeface="+mj-lt"/>
                        <a:cs typeface="Arial"/>
                      </a:endParaRPr>
                    </a:p>
                  </a:txBody>
                  <a:tcPr marL="0" marR="0" marT="107950" marB="0"/>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0760971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53783" y="589391"/>
            <a:ext cx="8852375" cy="697353"/>
          </a:xfrm>
        </p:spPr>
        <p:txBody>
          <a:bodyPr>
            <a:normAutofit/>
          </a:bodyPr>
          <a:lstStyle/>
          <a:p>
            <a:r>
              <a:rPr lang="en-GB" dirty="0"/>
              <a:t>Restructuring Concept: SWOT-Analy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01158" y="2107261"/>
            <a:ext cx="2749858"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WOT analysis (or SWOT matrix) is a strategic planning technique used to help a person or organization identify strengths, weaknesses, opportunities, and threats related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to business competition or project planning.</a:t>
            </a:r>
            <a:endParaRPr lang="en-US" dirty="0">
              <a:solidFill>
                <a:srgbClr val="245473"/>
              </a:solidFill>
            </a:endParaRPr>
          </a:p>
        </p:txBody>
      </p:sp>
      <p:cxnSp>
        <p:nvCxnSpPr>
          <p:cNvPr id="5" name="Straight Connector 41">
            <a:extLst>
              <a:ext uri="{FF2B5EF4-FFF2-40B4-BE49-F238E27FC236}">
                <a16:creationId xmlns:a16="http://schemas.microsoft.com/office/drawing/2014/main" xmlns="" id="{DF5F0568-047F-4F71-80D6-1A2738A7C2F1}"/>
              </a:ext>
            </a:extLst>
          </p:cNvPr>
          <p:cNvCxnSpPr>
            <a:cxnSpLocks/>
          </p:cNvCxnSpPr>
          <p:nvPr/>
        </p:nvCxnSpPr>
        <p:spPr bwMode="auto">
          <a:xfrm>
            <a:off x="9696542" y="3161474"/>
            <a:ext cx="0" cy="176893"/>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42">
            <a:extLst>
              <a:ext uri="{FF2B5EF4-FFF2-40B4-BE49-F238E27FC236}">
                <a16:creationId xmlns:a16="http://schemas.microsoft.com/office/drawing/2014/main" xmlns="" id="{26BA192B-4564-4BC8-A4EF-811B0FE6FD25}"/>
              </a:ext>
            </a:extLst>
          </p:cNvPr>
          <p:cNvCxnSpPr>
            <a:cxnSpLocks/>
          </p:cNvCxnSpPr>
          <p:nvPr/>
        </p:nvCxnSpPr>
        <p:spPr bwMode="auto">
          <a:xfrm>
            <a:off x="8701181" y="3338366"/>
            <a:ext cx="1976437"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 name="Straight Connector 39">
            <a:extLst>
              <a:ext uri="{FF2B5EF4-FFF2-40B4-BE49-F238E27FC236}">
                <a16:creationId xmlns:a16="http://schemas.microsoft.com/office/drawing/2014/main" xmlns="" id="{1471F38A-E0C8-47EA-8A1F-1B05D9C7C670}"/>
              </a:ext>
            </a:extLst>
          </p:cNvPr>
          <p:cNvCxnSpPr>
            <a:cxnSpLocks/>
          </p:cNvCxnSpPr>
          <p:nvPr/>
        </p:nvCxnSpPr>
        <p:spPr bwMode="auto">
          <a:xfrm>
            <a:off x="8701180" y="3334794"/>
            <a:ext cx="0" cy="177404"/>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 name="Straight Connector 40">
            <a:extLst>
              <a:ext uri="{FF2B5EF4-FFF2-40B4-BE49-F238E27FC236}">
                <a16:creationId xmlns:a16="http://schemas.microsoft.com/office/drawing/2014/main" xmlns="" id="{B2116C94-9CAD-42F5-AD45-FD645175CB02}"/>
              </a:ext>
            </a:extLst>
          </p:cNvPr>
          <p:cNvCxnSpPr>
            <a:cxnSpLocks/>
            <a:endCxn id="26" idx="0"/>
          </p:cNvCxnSpPr>
          <p:nvPr/>
        </p:nvCxnSpPr>
        <p:spPr bwMode="auto">
          <a:xfrm>
            <a:off x="10677617" y="3334796"/>
            <a:ext cx="9701" cy="180974"/>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29">
            <a:extLst>
              <a:ext uri="{FF2B5EF4-FFF2-40B4-BE49-F238E27FC236}">
                <a16:creationId xmlns:a16="http://schemas.microsoft.com/office/drawing/2014/main" xmlns="" id="{F2E29EB8-853C-489E-B795-A6D9F7B0328A}"/>
              </a:ext>
            </a:extLst>
          </p:cNvPr>
          <p:cNvCxnSpPr/>
          <p:nvPr/>
        </p:nvCxnSpPr>
        <p:spPr bwMode="auto">
          <a:xfrm>
            <a:off x="7555798" y="2396583"/>
            <a:ext cx="0" cy="175023"/>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30">
            <a:extLst>
              <a:ext uri="{FF2B5EF4-FFF2-40B4-BE49-F238E27FC236}">
                <a16:creationId xmlns:a16="http://schemas.microsoft.com/office/drawing/2014/main" xmlns="" id="{553BFCAE-9F3A-476B-BF0C-29510F0FA84E}"/>
              </a:ext>
            </a:extLst>
          </p:cNvPr>
          <p:cNvCxnSpPr>
            <a:cxnSpLocks/>
          </p:cNvCxnSpPr>
          <p:nvPr/>
        </p:nvCxnSpPr>
        <p:spPr bwMode="auto">
          <a:xfrm>
            <a:off x="5431724" y="2575176"/>
            <a:ext cx="42600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27">
            <a:extLst>
              <a:ext uri="{FF2B5EF4-FFF2-40B4-BE49-F238E27FC236}">
                <a16:creationId xmlns:a16="http://schemas.microsoft.com/office/drawing/2014/main" xmlns="" id="{C947F689-9AA4-445A-894C-237897C351BC}"/>
              </a:ext>
            </a:extLst>
          </p:cNvPr>
          <p:cNvCxnSpPr>
            <a:cxnSpLocks/>
          </p:cNvCxnSpPr>
          <p:nvPr/>
        </p:nvCxnSpPr>
        <p:spPr bwMode="auto">
          <a:xfrm>
            <a:off x="5431724" y="2575177"/>
            <a:ext cx="0" cy="196453"/>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28">
            <a:extLst>
              <a:ext uri="{FF2B5EF4-FFF2-40B4-BE49-F238E27FC236}">
                <a16:creationId xmlns:a16="http://schemas.microsoft.com/office/drawing/2014/main" xmlns="" id="{5DCC6894-1A49-4575-8419-54AC3B305CFC}"/>
              </a:ext>
            </a:extLst>
          </p:cNvPr>
          <p:cNvCxnSpPr>
            <a:cxnSpLocks/>
            <a:endCxn id="18" idx="0"/>
          </p:cNvCxnSpPr>
          <p:nvPr/>
        </p:nvCxnSpPr>
        <p:spPr bwMode="auto">
          <a:xfrm flipH="1">
            <a:off x="9691184" y="2571605"/>
            <a:ext cx="596" cy="203596"/>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3" name="Rectangle 2">
            <a:extLst>
              <a:ext uri="{FF2B5EF4-FFF2-40B4-BE49-F238E27FC236}">
                <a16:creationId xmlns:a16="http://schemas.microsoft.com/office/drawing/2014/main" xmlns="" id="{341F2D68-F9A2-441B-9F8B-32EC8D11A4DA}"/>
              </a:ext>
            </a:extLst>
          </p:cNvPr>
          <p:cNvSpPr/>
          <p:nvPr/>
        </p:nvSpPr>
        <p:spPr bwMode="auto">
          <a:xfrm>
            <a:off x="5313851" y="2000105"/>
            <a:ext cx="4495800" cy="39647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4" name="Rectangle 3">
            <a:extLst>
              <a:ext uri="{FF2B5EF4-FFF2-40B4-BE49-F238E27FC236}">
                <a16:creationId xmlns:a16="http://schemas.microsoft.com/office/drawing/2014/main" xmlns="" id="{88C69BB0-557F-41DC-B0E4-27149C5415C5}"/>
              </a:ext>
            </a:extLst>
          </p:cNvPr>
          <p:cNvSpPr/>
          <p:nvPr/>
        </p:nvSpPr>
        <p:spPr bwMode="auto">
          <a:xfrm>
            <a:off x="5313851" y="1878661"/>
            <a:ext cx="4495800" cy="457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5" name="Rectangle 6">
            <a:extLst>
              <a:ext uri="{FF2B5EF4-FFF2-40B4-BE49-F238E27FC236}">
                <a16:creationId xmlns:a16="http://schemas.microsoft.com/office/drawing/2014/main" xmlns="" id="{CA431A96-4FBA-40B7-A2ED-5AFB587B8025}"/>
              </a:ext>
            </a:extLst>
          </p:cNvPr>
          <p:cNvSpPr/>
          <p:nvPr/>
        </p:nvSpPr>
        <p:spPr bwMode="auto">
          <a:xfrm>
            <a:off x="3518389" y="2864499"/>
            <a:ext cx="3827860" cy="30360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6" name="Rectangle 7">
            <a:extLst>
              <a:ext uri="{FF2B5EF4-FFF2-40B4-BE49-F238E27FC236}">
                <a16:creationId xmlns:a16="http://schemas.microsoft.com/office/drawing/2014/main" xmlns="" id="{E5B43FFB-474C-49C8-9AE0-C063BC0CC599}"/>
              </a:ext>
            </a:extLst>
          </p:cNvPr>
          <p:cNvSpPr/>
          <p:nvPr/>
        </p:nvSpPr>
        <p:spPr bwMode="auto">
          <a:xfrm>
            <a:off x="3518389" y="2775201"/>
            <a:ext cx="3827860" cy="3500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7" name="Rectangle 9">
            <a:extLst>
              <a:ext uri="{FF2B5EF4-FFF2-40B4-BE49-F238E27FC236}">
                <a16:creationId xmlns:a16="http://schemas.microsoft.com/office/drawing/2014/main" xmlns="" id="{1492E3C0-5ACF-43BF-AE37-7CA575BBB091}"/>
              </a:ext>
            </a:extLst>
          </p:cNvPr>
          <p:cNvSpPr/>
          <p:nvPr/>
        </p:nvSpPr>
        <p:spPr bwMode="auto">
          <a:xfrm>
            <a:off x="7777255" y="2864499"/>
            <a:ext cx="3827859" cy="303609"/>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8" name="Rectangle 10">
            <a:extLst>
              <a:ext uri="{FF2B5EF4-FFF2-40B4-BE49-F238E27FC236}">
                <a16:creationId xmlns:a16="http://schemas.microsoft.com/office/drawing/2014/main" xmlns="" id="{2F88F7B4-1A6C-4AFC-BF7D-EB5B8041D69A}"/>
              </a:ext>
            </a:extLst>
          </p:cNvPr>
          <p:cNvSpPr/>
          <p:nvPr/>
        </p:nvSpPr>
        <p:spPr bwMode="auto">
          <a:xfrm>
            <a:off x="7777255" y="2775201"/>
            <a:ext cx="3827859" cy="3500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9" name="Rectangle 13">
            <a:extLst>
              <a:ext uri="{FF2B5EF4-FFF2-40B4-BE49-F238E27FC236}">
                <a16:creationId xmlns:a16="http://schemas.microsoft.com/office/drawing/2014/main" xmlns="" id="{D8F91DBF-31E8-40C3-AFEE-26350902926F}"/>
              </a:ext>
            </a:extLst>
          </p:cNvPr>
          <p:cNvSpPr/>
          <p:nvPr/>
        </p:nvSpPr>
        <p:spPr>
          <a:xfrm>
            <a:off x="3518389" y="3516854"/>
            <a:ext cx="1840706" cy="282308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0" name="Rectangle 14">
            <a:extLst>
              <a:ext uri="{FF2B5EF4-FFF2-40B4-BE49-F238E27FC236}">
                <a16:creationId xmlns:a16="http://schemas.microsoft.com/office/drawing/2014/main" xmlns="" id="{80A14867-CD20-48FD-A373-DA0BF8F2A66D}"/>
              </a:ext>
            </a:extLst>
          </p:cNvPr>
          <p:cNvSpPr/>
          <p:nvPr/>
        </p:nvSpPr>
        <p:spPr>
          <a:xfrm>
            <a:off x="3518389" y="3515770"/>
            <a:ext cx="1845820" cy="3512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sp>
        <p:nvSpPr>
          <p:cNvPr id="21" name="Rectangle 15">
            <a:extLst>
              <a:ext uri="{FF2B5EF4-FFF2-40B4-BE49-F238E27FC236}">
                <a16:creationId xmlns:a16="http://schemas.microsoft.com/office/drawing/2014/main" xmlns="" id="{3ECD1910-13C8-4425-96BC-6990C516FFFE}"/>
              </a:ext>
            </a:extLst>
          </p:cNvPr>
          <p:cNvSpPr/>
          <p:nvPr/>
        </p:nvSpPr>
        <p:spPr>
          <a:xfrm>
            <a:off x="5493637" y="3649821"/>
            <a:ext cx="1847011" cy="269012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2" name="Rectangle 16">
            <a:extLst>
              <a:ext uri="{FF2B5EF4-FFF2-40B4-BE49-F238E27FC236}">
                <a16:creationId xmlns:a16="http://schemas.microsoft.com/office/drawing/2014/main" xmlns="" id="{E0645C7F-C00D-4F08-BCF8-ECDD08034137}"/>
              </a:ext>
            </a:extLst>
          </p:cNvPr>
          <p:cNvSpPr/>
          <p:nvPr/>
        </p:nvSpPr>
        <p:spPr>
          <a:xfrm>
            <a:off x="5493637" y="3515770"/>
            <a:ext cx="1847011" cy="3512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sp>
        <p:nvSpPr>
          <p:cNvPr id="23" name="Rectangle 19">
            <a:extLst>
              <a:ext uri="{FF2B5EF4-FFF2-40B4-BE49-F238E27FC236}">
                <a16:creationId xmlns:a16="http://schemas.microsoft.com/office/drawing/2014/main" xmlns="" id="{24F5F4B2-899F-4627-8D85-5B54F2610EA5}"/>
              </a:ext>
            </a:extLst>
          </p:cNvPr>
          <p:cNvSpPr/>
          <p:nvPr/>
        </p:nvSpPr>
        <p:spPr>
          <a:xfrm>
            <a:off x="7777743" y="3657454"/>
            <a:ext cx="1852125" cy="268324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4" name="Rectangle 20">
            <a:extLst>
              <a:ext uri="{FF2B5EF4-FFF2-40B4-BE49-F238E27FC236}">
                <a16:creationId xmlns:a16="http://schemas.microsoft.com/office/drawing/2014/main" xmlns="" id="{4AEA2723-209D-4AFE-AE0E-97BDD42DAF08}"/>
              </a:ext>
            </a:extLst>
          </p:cNvPr>
          <p:cNvSpPr/>
          <p:nvPr/>
        </p:nvSpPr>
        <p:spPr>
          <a:xfrm>
            <a:off x="7777743" y="3536226"/>
            <a:ext cx="1847011" cy="3512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sp>
        <p:nvSpPr>
          <p:cNvPr id="25" name="Rectangle 21">
            <a:extLst>
              <a:ext uri="{FF2B5EF4-FFF2-40B4-BE49-F238E27FC236}">
                <a16:creationId xmlns:a16="http://schemas.microsoft.com/office/drawing/2014/main" xmlns="" id="{5490B377-415B-434B-B71C-EACAA60F2FD9}"/>
              </a:ext>
            </a:extLst>
          </p:cNvPr>
          <p:cNvSpPr/>
          <p:nvPr/>
        </p:nvSpPr>
        <p:spPr>
          <a:xfrm>
            <a:off x="9764408" y="3657454"/>
            <a:ext cx="1840706" cy="2683248"/>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6" name="Rectangle 22">
            <a:extLst>
              <a:ext uri="{FF2B5EF4-FFF2-40B4-BE49-F238E27FC236}">
                <a16:creationId xmlns:a16="http://schemas.microsoft.com/office/drawing/2014/main" xmlns="" id="{73A2F6EF-0E95-4BF3-AEAE-1051D490598D}"/>
              </a:ext>
            </a:extLst>
          </p:cNvPr>
          <p:cNvSpPr/>
          <p:nvPr/>
        </p:nvSpPr>
        <p:spPr>
          <a:xfrm>
            <a:off x="9764408" y="3515770"/>
            <a:ext cx="1845820" cy="3512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cxnSp>
        <p:nvCxnSpPr>
          <p:cNvPr id="27" name="Straight Connector 35">
            <a:extLst>
              <a:ext uri="{FF2B5EF4-FFF2-40B4-BE49-F238E27FC236}">
                <a16:creationId xmlns:a16="http://schemas.microsoft.com/office/drawing/2014/main" xmlns="" id="{C20E747C-2B58-41DE-B21F-DD37218E7ACA}"/>
              </a:ext>
            </a:extLst>
          </p:cNvPr>
          <p:cNvCxnSpPr>
            <a:cxnSpLocks/>
            <a:stCxn id="15" idx="2"/>
          </p:cNvCxnSpPr>
          <p:nvPr/>
        </p:nvCxnSpPr>
        <p:spPr bwMode="auto">
          <a:xfrm>
            <a:off x="5432320" y="3168108"/>
            <a:ext cx="1785" cy="166687"/>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36">
            <a:extLst>
              <a:ext uri="{FF2B5EF4-FFF2-40B4-BE49-F238E27FC236}">
                <a16:creationId xmlns:a16="http://schemas.microsoft.com/office/drawing/2014/main" xmlns="" id="{75A2ACBA-3EA0-4B0C-9537-BF8E53AAA5CD}"/>
              </a:ext>
            </a:extLst>
          </p:cNvPr>
          <p:cNvCxnSpPr>
            <a:cxnSpLocks/>
          </p:cNvCxnSpPr>
          <p:nvPr/>
        </p:nvCxnSpPr>
        <p:spPr bwMode="auto">
          <a:xfrm>
            <a:off x="4438743" y="3338366"/>
            <a:ext cx="1976437"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33">
            <a:extLst>
              <a:ext uri="{FF2B5EF4-FFF2-40B4-BE49-F238E27FC236}">
                <a16:creationId xmlns:a16="http://schemas.microsoft.com/office/drawing/2014/main" xmlns="" id="{7CC217E5-1D07-4626-ACC2-DC4E20DED28E}"/>
              </a:ext>
            </a:extLst>
          </p:cNvPr>
          <p:cNvCxnSpPr>
            <a:cxnSpLocks/>
          </p:cNvCxnSpPr>
          <p:nvPr/>
        </p:nvCxnSpPr>
        <p:spPr bwMode="auto">
          <a:xfrm>
            <a:off x="4438742" y="3338366"/>
            <a:ext cx="0" cy="173832"/>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34">
            <a:extLst>
              <a:ext uri="{FF2B5EF4-FFF2-40B4-BE49-F238E27FC236}">
                <a16:creationId xmlns:a16="http://schemas.microsoft.com/office/drawing/2014/main" xmlns="" id="{142494D4-2A11-4244-9809-BCC4BAD9381E}"/>
              </a:ext>
            </a:extLst>
          </p:cNvPr>
          <p:cNvCxnSpPr>
            <a:cxnSpLocks/>
            <a:endCxn id="22" idx="0"/>
          </p:cNvCxnSpPr>
          <p:nvPr/>
        </p:nvCxnSpPr>
        <p:spPr bwMode="auto">
          <a:xfrm>
            <a:off x="6415180" y="3334796"/>
            <a:ext cx="1963" cy="180974"/>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1" name="TextBox 58">
            <a:extLst>
              <a:ext uri="{FF2B5EF4-FFF2-40B4-BE49-F238E27FC236}">
                <a16:creationId xmlns:a16="http://schemas.microsoft.com/office/drawing/2014/main" xmlns="" id="{21C07DE5-AB33-479E-973B-B7683A462402}"/>
              </a:ext>
            </a:extLst>
          </p:cNvPr>
          <p:cNvSpPr txBox="1"/>
          <p:nvPr/>
        </p:nvSpPr>
        <p:spPr>
          <a:xfrm>
            <a:off x="6891888" y="1878952"/>
            <a:ext cx="1339726" cy="473335"/>
          </a:xfrm>
          <a:prstGeom prst="rect">
            <a:avLst/>
          </a:prstGeom>
          <a:noFill/>
        </p:spPr>
        <p:txBody>
          <a:bodyPr wrap="none" rtlCol="0" anchor="ctr" anchorCtr="0">
            <a:spAutoFit/>
          </a:bodyPr>
          <a:lstStyle/>
          <a:p>
            <a:pPr algn="ctr"/>
            <a:r>
              <a:rPr lang="en-GB" sz="2476" b="1">
                <a:solidFill>
                  <a:schemeClr val="bg1"/>
                </a:solidFill>
                <a:latin typeface="+mj-lt"/>
                <a:ea typeface="League Spartan" charset="0"/>
                <a:cs typeface="Poppins" pitchFamily="2" charset="77"/>
              </a:rPr>
              <a:t>ANALYSIS</a:t>
            </a:r>
            <a:endParaRPr lang="en-GB" sz="2476" b="1" dirty="0">
              <a:solidFill>
                <a:schemeClr val="bg1"/>
              </a:solidFill>
              <a:latin typeface="+mj-lt"/>
              <a:ea typeface="League Spartan" charset="0"/>
              <a:cs typeface="Poppins" pitchFamily="2" charset="77"/>
            </a:endParaRPr>
          </a:p>
        </p:txBody>
      </p:sp>
      <p:sp>
        <p:nvSpPr>
          <p:cNvPr id="32" name="TextBox 59">
            <a:extLst>
              <a:ext uri="{FF2B5EF4-FFF2-40B4-BE49-F238E27FC236}">
                <a16:creationId xmlns:a16="http://schemas.microsoft.com/office/drawing/2014/main" xmlns="" id="{4A0E62F7-18B8-44D8-959E-7880E7A1E932}"/>
              </a:ext>
            </a:extLst>
          </p:cNvPr>
          <p:cNvSpPr txBox="1"/>
          <p:nvPr/>
        </p:nvSpPr>
        <p:spPr>
          <a:xfrm>
            <a:off x="4880980" y="2763048"/>
            <a:ext cx="1091966" cy="369332"/>
          </a:xfrm>
          <a:prstGeom prst="rect">
            <a:avLst/>
          </a:prstGeom>
          <a:noFill/>
        </p:spPr>
        <p:txBody>
          <a:bodyPr wrap="none" rtlCol="0" anchor="ctr" anchorCtr="0">
            <a:spAutoFit/>
          </a:bodyPr>
          <a:lstStyle/>
          <a:p>
            <a:pPr algn="ctr"/>
            <a:r>
              <a:rPr lang="en-GB" b="1" dirty="0">
                <a:solidFill>
                  <a:schemeClr val="bg1"/>
                </a:solidFill>
                <a:latin typeface="+mj-lt"/>
                <a:ea typeface="League Spartan" charset="0"/>
                <a:cs typeface="Poppins" pitchFamily="2" charset="77"/>
              </a:rPr>
              <a:t>INTERNAL</a:t>
            </a:r>
          </a:p>
        </p:txBody>
      </p:sp>
      <p:sp>
        <p:nvSpPr>
          <p:cNvPr id="33" name="TextBox 60">
            <a:extLst>
              <a:ext uri="{FF2B5EF4-FFF2-40B4-BE49-F238E27FC236}">
                <a16:creationId xmlns:a16="http://schemas.microsoft.com/office/drawing/2014/main" xmlns="" id="{B5BA8DEE-BE90-44AD-8CCC-5A2D4796671E}"/>
              </a:ext>
            </a:extLst>
          </p:cNvPr>
          <p:cNvSpPr txBox="1"/>
          <p:nvPr/>
        </p:nvSpPr>
        <p:spPr>
          <a:xfrm>
            <a:off x="9138538" y="2763048"/>
            <a:ext cx="1116011" cy="369332"/>
          </a:xfrm>
          <a:prstGeom prst="rect">
            <a:avLst/>
          </a:prstGeom>
          <a:noFill/>
        </p:spPr>
        <p:txBody>
          <a:bodyPr wrap="none" rtlCol="0" anchor="ctr" anchorCtr="0">
            <a:spAutoFit/>
          </a:bodyPr>
          <a:lstStyle/>
          <a:p>
            <a:pPr algn="ctr"/>
            <a:r>
              <a:rPr lang="en-GB" b="1" dirty="0">
                <a:solidFill>
                  <a:schemeClr val="bg1"/>
                </a:solidFill>
                <a:latin typeface="+mj-lt"/>
                <a:ea typeface="League Spartan" charset="0"/>
                <a:cs typeface="Poppins" pitchFamily="2" charset="77"/>
              </a:rPr>
              <a:t>EXTERNAL</a:t>
            </a:r>
          </a:p>
        </p:txBody>
      </p:sp>
      <p:sp>
        <p:nvSpPr>
          <p:cNvPr id="34" name="TextBox 61">
            <a:extLst>
              <a:ext uri="{FF2B5EF4-FFF2-40B4-BE49-F238E27FC236}">
                <a16:creationId xmlns:a16="http://schemas.microsoft.com/office/drawing/2014/main" xmlns="" id="{9E8C4B57-FD37-4B78-840E-6D153CB3B704}"/>
              </a:ext>
            </a:extLst>
          </p:cNvPr>
          <p:cNvSpPr txBox="1"/>
          <p:nvPr/>
        </p:nvSpPr>
        <p:spPr>
          <a:xfrm>
            <a:off x="10280966" y="3537499"/>
            <a:ext cx="812707" cy="307777"/>
          </a:xfrm>
          <a:prstGeom prst="rect">
            <a:avLst/>
          </a:prstGeom>
          <a:noFill/>
        </p:spPr>
        <p:txBody>
          <a:bodyPr wrap="square" rtlCol="0" anchor="ctr" anchorCtr="0">
            <a:spAutoFit/>
          </a:bodyPr>
          <a:lstStyle/>
          <a:p>
            <a:pPr algn="ctr"/>
            <a:r>
              <a:rPr lang="en-GB" sz="1400" b="1">
                <a:solidFill>
                  <a:schemeClr val="bg1"/>
                </a:solidFill>
                <a:latin typeface="+mj-lt"/>
                <a:ea typeface="League Spartan" charset="0"/>
                <a:cs typeface="Poppins" pitchFamily="2" charset="77"/>
              </a:rPr>
              <a:t>THREATS</a:t>
            </a:r>
            <a:endParaRPr lang="en-GB" sz="1400" b="1" dirty="0">
              <a:solidFill>
                <a:schemeClr val="bg1"/>
              </a:solidFill>
              <a:latin typeface="+mj-lt"/>
              <a:ea typeface="League Spartan" charset="0"/>
              <a:cs typeface="Poppins" pitchFamily="2" charset="77"/>
            </a:endParaRPr>
          </a:p>
        </p:txBody>
      </p:sp>
      <p:sp>
        <p:nvSpPr>
          <p:cNvPr id="35" name="TextBox 62">
            <a:extLst>
              <a:ext uri="{FF2B5EF4-FFF2-40B4-BE49-F238E27FC236}">
                <a16:creationId xmlns:a16="http://schemas.microsoft.com/office/drawing/2014/main" xmlns="" id="{F5496BF7-C078-4C18-B82F-795F701754D2}"/>
              </a:ext>
            </a:extLst>
          </p:cNvPr>
          <p:cNvSpPr txBox="1"/>
          <p:nvPr/>
        </p:nvSpPr>
        <p:spPr>
          <a:xfrm>
            <a:off x="8042038" y="3537499"/>
            <a:ext cx="1506841" cy="307777"/>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OPPORTUNITIES</a:t>
            </a:r>
          </a:p>
        </p:txBody>
      </p:sp>
      <p:sp>
        <p:nvSpPr>
          <p:cNvPr id="36" name="TextBox 63">
            <a:extLst>
              <a:ext uri="{FF2B5EF4-FFF2-40B4-BE49-F238E27FC236}">
                <a16:creationId xmlns:a16="http://schemas.microsoft.com/office/drawing/2014/main" xmlns="" id="{E34E5659-F598-464E-A298-857BF0C44D25}"/>
              </a:ext>
            </a:extLst>
          </p:cNvPr>
          <p:cNvSpPr txBox="1"/>
          <p:nvPr/>
        </p:nvSpPr>
        <p:spPr>
          <a:xfrm>
            <a:off x="5847154" y="3537499"/>
            <a:ext cx="1414034" cy="307777"/>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WEAKNESSES</a:t>
            </a:r>
          </a:p>
        </p:txBody>
      </p:sp>
      <p:sp>
        <p:nvSpPr>
          <p:cNvPr id="37" name="TextBox 64">
            <a:extLst>
              <a:ext uri="{FF2B5EF4-FFF2-40B4-BE49-F238E27FC236}">
                <a16:creationId xmlns:a16="http://schemas.microsoft.com/office/drawing/2014/main" xmlns="" id="{86D9A180-401F-4563-9D6E-62402469BAF4}"/>
              </a:ext>
            </a:extLst>
          </p:cNvPr>
          <p:cNvSpPr txBox="1"/>
          <p:nvPr/>
        </p:nvSpPr>
        <p:spPr>
          <a:xfrm>
            <a:off x="3925718" y="3537499"/>
            <a:ext cx="1324080" cy="307777"/>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STRENGTHS</a:t>
            </a:r>
          </a:p>
        </p:txBody>
      </p:sp>
      <p:sp>
        <p:nvSpPr>
          <p:cNvPr id="38" name="Subtitle 2">
            <a:extLst>
              <a:ext uri="{FF2B5EF4-FFF2-40B4-BE49-F238E27FC236}">
                <a16:creationId xmlns:a16="http://schemas.microsoft.com/office/drawing/2014/main" xmlns="" id="{E7C1F750-1F1C-4A05-99BE-8B8FBBAD535C}"/>
              </a:ext>
            </a:extLst>
          </p:cNvPr>
          <p:cNvSpPr txBox="1">
            <a:spLocks/>
          </p:cNvSpPr>
          <p:nvPr/>
        </p:nvSpPr>
        <p:spPr>
          <a:xfrm>
            <a:off x="3603898" y="3909555"/>
            <a:ext cx="1674805" cy="205977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a:solidFill>
                  <a:schemeClr val="bg1"/>
                </a:solidFill>
                <a:latin typeface="+mj-lt"/>
                <a:ea typeface="Open Sans Light" panose="020B0306030504020204" pitchFamily="34" charset="0"/>
                <a:cs typeface="Open Sans Light" panose="020B0306030504020204" pitchFamily="34" charset="0"/>
              </a:rPr>
              <a:t>Strengths describe what an organization excels at and what separates it from the competition: a strong brand, loyal customer base, a strong balance sheet, unique technology, and </a:t>
            </a:r>
            <a:r>
              <a:rPr lang="en-GB" sz="1400" dirty="0">
                <a:solidFill>
                  <a:schemeClr val="bg1"/>
                </a:solidFill>
                <a:latin typeface="+mj-lt"/>
                <a:ea typeface="Open Sans Light" panose="020B0306030504020204" pitchFamily="34" charset="0"/>
                <a:cs typeface="Open Sans Light" panose="020B0306030504020204" pitchFamily="34" charset="0"/>
              </a:rPr>
              <a:t/>
            </a:r>
            <a:br>
              <a:rPr lang="en-GB" sz="1400" dirty="0">
                <a:solidFill>
                  <a:schemeClr val="bg1"/>
                </a:solidFill>
                <a:latin typeface="+mj-lt"/>
                <a:ea typeface="Open Sans Light" panose="020B0306030504020204" pitchFamily="34" charset="0"/>
                <a:cs typeface="Open Sans Light" panose="020B0306030504020204" pitchFamily="34" charset="0"/>
              </a:rPr>
            </a:br>
            <a:r>
              <a:rPr lang="en-GB" sz="1400">
                <a:solidFill>
                  <a:schemeClr val="bg1"/>
                </a:solidFill>
                <a:latin typeface="+mj-lt"/>
                <a:ea typeface="Open Sans Light" panose="020B0306030504020204" pitchFamily="34" charset="0"/>
                <a:cs typeface="Open Sans Light" panose="020B0306030504020204" pitchFamily="34" charset="0"/>
              </a:rPr>
              <a:t>so on. </a:t>
            </a: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39" name="Subtitle 2">
            <a:extLst>
              <a:ext uri="{FF2B5EF4-FFF2-40B4-BE49-F238E27FC236}">
                <a16:creationId xmlns:a16="http://schemas.microsoft.com/office/drawing/2014/main" xmlns="" id="{4565241B-0259-4F78-A1EC-5D561528C49C}"/>
              </a:ext>
            </a:extLst>
          </p:cNvPr>
          <p:cNvSpPr txBox="1">
            <a:spLocks/>
          </p:cNvSpPr>
          <p:nvPr/>
        </p:nvSpPr>
        <p:spPr>
          <a:xfrm>
            <a:off x="5579739" y="3909555"/>
            <a:ext cx="1674805" cy="22368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a:solidFill>
                  <a:schemeClr val="bg1"/>
                </a:solidFill>
                <a:latin typeface="+mj-lt"/>
                <a:ea typeface="Open Sans Light" panose="020B0306030504020204" pitchFamily="34" charset="0"/>
                <a:cs typeface="Open Sans Light" panose="020B0306030504020204" pitchFamily="34" charset="0"/>
              </a:rPr>
              <a:t>Weaknesses stop an organization from performing at its optimum level. They are areas where the business needs to improve to remain competitive: a weak brand, high levels of debt, an inadequate supply chain, or lack of capital.</a:t>
            </a: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40" name="Subtitle 2">
            <a:extLst>
              <a:ext uri="{FF2B5EF4-FFF2-40B4-BE49-F238E27FC236}">
                <a16:creationId xmlns:a16="http://schemas.microsoft.com/office/drawing/2014/main" xmlns="" id="{AC4F719D-5A49-41E8-92DD-67A28B373485}"/>
              </a:ext>
            </a:extLst>
          </p:cNvPr>
          <p:cNvSpPr txBox="1">
            <a:spLocks/>
          </p:cNvSpPr>
          <p:nvPr/>
        </p:nvSpPr>
        <p:spPr>
          <a:xfrm>
            <a:off x="7874074" y="3909555"/>
            <a:ext cx="1674805" cy="241885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a:solidFill>
                  <a:schemeClr val="bg1"/>
                </a:solidFill>
                <a:latin typeface="+mj-lt"/>
                <a:ea typeface="Open Sans Light" panose="020B0306030504020204" pitchFamily="34" charset="0"/>
                <a:cs typeface="Open Sans Light" panose="020B0306030504020204" pitchFamily="34" charset="0"/>
              </a:rPr>
              <a:t>Opportunities refer to favorable external factors that could give an organization a competitive advantage. For example, if a country cuts tariffs, a car manufacturer can export its cars into a new market, increasing sales and market share.</a:t>
            </a: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41" name="Subtitle 2">
            <a:extLst>
              <a:ext uri="{FF2B5EF4-FFF2-40B4-BE49-F238E27FC236}">
                <a16:creationId xmlns:a16="http://schemas.microsoft.com/office/drawing/2014/main" xmlns="" id="{E70D4EB7-6268-41EC-A61A-1D925FF37BF5}"/>
              </a:ext>
            </a:extLst>
          </p:cNvPr>
          <p:cNvSpPr txBox="1">
            <a:spLocks/>
          </p:cNvSpPr>
          <p:nvPr/>
        </p:nvSpPr>
        <p:spPr>
          <a:xfrm>
            <a:off x="9842772" y="3909555"/>
            <a:ext cx="1843569" cy="22368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300" dirty="0">
                <a:solidFill>
                  <a:schemeClr val="bg1"/>
                </a:solidFill>
                <a:latin typeface="+mj-lt"/>
                <a:ea typeface="Open Sans Light" panose="020B0306030504020204" pitchFamily="34" charset="0"/>
                <a:cs typeface="Open Sans Light" panose="020B0306030504020204" pitchFamily="34" charset="0"/>
              </a:rPr>
              <a:t>Threats refer to factors that have the potential to harm an organization. </a:t>
            </a:r>
            <a:r>
              <a:rPr lang="en-GB" sz="1300">
                <a:solidFill>
                  <a:schemeClr val="bg1"/>
                </a:solidFill>
                <a:latin typeface="+mj-lt"/>
                <a:ea typeface="Open Sans Light" panose="020B0306030504020204" pitchFamily="34" charset="0"/>
                <a:cs typeface="Open Sans Light" panose="020B0306030504020204" pitchFamily="34" charset="0"/>
              </a:rPr>
              <a:t>For example, a drought</a:t>
            </a:r>
            <a:r>
              <a:rPr lang="en-GB" sz="1300" dirty="0">
                <a:latin typeface="+mj-lt"/>
                <a:ea typeface="Open Sans Light" panose="020B0306030504020204" pitchFamily="34" charset="0"/>
                <a:cs typeface="Open Sans Light" panose="020B0306030504020204" pitchFamily="34" charset="0"/>
              </a:rPr>
              <a:t/>
            </a:r>
            <a:br>
              <a:rPr lang="en-GB" sz="1300" dirty="0">
                <a:latin typeface="+mj-lt"/>
                <a:ea typeface="Open Sans Light" panose="020B0306030504020204" pitchFamily="34" charset="0"/>
                <a:cs typeface="Open Sans Light" panose="020B0306030504020204" pitchFamily="34" charset="0"/>
              </a:rPr>
            </a:br>
            <a:r>
              <a:rPr lang="en-GB" sz="1300">
                <a:solidFill>
                  <a:schemeClr val="bg1"/>
                </a:solidFill>
                <a:latin typeface="+mj-lt"/>
                <a:ea typeface="Open Sans Light" panose="020B0306030504020204" pitchFamily="34" charset="0"/>
                <a:cs typeface="Open Sans Light" panose="020B0306030504020204" pitchFamily="34" charset="0"/>
              </a:rPr>
              <a:t>is a threat to a wheat-</a:t>
            </a:r>
            <a:r>
              <a:rPr lang="en-GB" sz="1300" dirty="0">
                <a:solidFill>
                  <a:schemeClr val="bg1"/>
                </a:solidFill>
                <a:latin typeface="+mj-lt"/>
                <a:ea typeface="Open Sans Light" panose="020B0306030504020204" pitchFamily="34" charset="0"/>
                <a:cs typeface="Open Sans Light" panose="020B0306030504020204" pitchFamily="34" charset="0"/>
              </a:rPr>
              <a:t>producing company, as </a:t>
            </a:r>
            <a:br>
              <a:rPr lang="en-GB" sz="1300" dirty="0">
                <a:solidFill>
                  <a:schemeClr val="bg1"/>
                </a:solidFill>
                <a:latin typeface="+mj-lt"/>
                <a:ea typeface="Open Sans Light" panose="020B0306030504020204" pitchFamily="34" charset="0"/>
                <a:cs typeface="Open Sans Light" panose="020B0306030504020204" pitchFamily="34" charset="0"/>
              </a:rPr>
            </a:br>
            <a:r>
              <a:rPr lang="en-GB" sz="1300">
                <a:solidFill>
                  <a:schemeClr val="bg1"/>
                </a:solidFill>
                <a:latin typeface="+mj-lt"/>
                <a:ea typeface="Open Sans Light" panose="020B0306030504020204" pitchFamily="34" charset="0"/>
                <a:cs typeface="Open Sans Light" panose="020B0306030504020204" pitchFamily="34" charset="0"/>
              </a:rPr>
              <a:t>it </a:t>
            </a:r>
            <a:r>
              <a:rPr lang="en-GB" sz="1300" dirty="0">
                <a:solidFill>
                  <a:schemeClr val="bg1"/>
                </a:solidFill>
                <a:latin typeface="+mj-lt"/>
                <a:ea typeface="Open Sans Light" panose="020B0306030504020204" pitchFamily="34" charset="0"/>
                <a:cs typeface="Open Sans Light" panose="020B0306030504020204" pitchFamily="34" charset="0"/>
              </a:rPr>
              <a:t>may destroy or reduce the crop yield. Other common threats include rising material costs, increasing competition, tight labor supply etc.</a:t>
            </a:r>
          </a:p>
        </p:txBody>
      </p:sp>
    </p:spTree>
    <p:extLst>
      <p:ext uri="{BB962C8B-B14F-4D97-AF65-F5344CB8AC3E}">
        <p14:creationId xmlns:p14="http://schemas.microsoft.com/office/powerpoint/2010/main" val="22016819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4429" y="484829"/>
            <a:ext cx="8852375" cy="697353"/>
          </a:xfrm>
        </p:spPr>
        <p:txBody>
          <a:bodyPr>
            <a:normAutofit/>
          </a:bodyPr>
          <a:lstStyle/>
          <a:p>
            <a:r>
              <a:rPr lang="en-GB" dirty="0"/>
              <a:t>Restructuring Concept: Value Chain Analy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7264" y="2024363"/>
            <a:ext cx="3207546" cy="448358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s we have seen in previous modules.  chain analysis is a strategy tool used to </a:t>
            </a:r>
            <a:r>
              <a:rPr lang="en-GB" sz="2200" dirty="0" err="1">
                <a:solidFill>
                  <a:srgbClr val="245473"/>
                </a:solidFill>
                <a:latin typeface="+mj-lt"/>
                <a:ea typeface="Open Sans Light" panose="020B0306030504020204" pitchFamily="34" charset="0"/>
                <a:cs typeface="Open Sans Light" panose="020B0306030504020204" pitchFamily="34" charset="0"/>
              </a:rPr>
              <a:t>analyze</a:t>
            </a:r>
            <a:r>
              <a:rPr lang="en-GB" sz="2200" dirty="0">
                <a:solidFill>
                  <a:srgbClr val="245473"/>
                </a:solidFill>
                <a:latin typeface="+mj-lt"/>
                <a:ea typeface="Open Sans Light" panose="020B0306030504020204" pitchFamily="34" charset="0"/>
                <a:cs typeface="Open Sans Light" panose="020B0306030504020204" pitchFamily="34" charset="0"/>
              </a:rPr>
              <a:t> internal firm activities. Its goal is to recognize, which activities are the most valuable (i.e. are the source of cost or differentiation advantage) to the firm and which ones could be improved to provide competitive advantage</a:t>
            </a:r>
            <a:r>
              <a:rPr lang="en-GB" sz="2200" dirty="0">
                <a:solidFill>
                  <a:schemeClr val="tx1"/>
                </a:solidFill>
                <a:latin typeface="+mj-lt"/>
                <a:ea typeface="Open Sans Light" panose="020B0306030504020204" pitchFamily="34" charset="0"/>
                <a:cs typeface="Open Sans Light" panose="020B0306030504020204" pitchFamily="34" charset="0"/>
              </a:rPr>
              <a:t>.</a:t>
            </a:r>
            <a:endParaRPr lang="en-US" dirty="0"/>
          </a:p>
        </p:txBody>
      </p:sp>
      <p:sp>
        <p:nvSpPr>
          <p:cNvPr id="42" name="Rectangle 4">
            <a:extLst>
              <a:ext uri="{FF2B5EF4-FFF2-40B4-BE49-F238E27FC236}">
                <a16:creationId xmlns:a16="http://schemas.microsoft.com/office/drawing/2014/main" xmlns="" id="{9C233EDF-A62B-49A4-9A33-F20190F12FF4}"/>
              </a:ext>
            </a:extLst>
          </p:cNvPr>
          <p:cNvSpPr/>
          <p:nvPr/>
        </p:nvSpPr>
        <p:spPr>
          <a:xfrm>
            <a:off x="3962317" y="4052588"/>
            <a:ext cx="5515268" cy="42713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5">
            <a:extLst>
              <a:ext uri="{FF2B5EF4-FFF2-40B4-BE49-F238E27FC236}">
                <a16:creationId xmlns:a16="http://schemas.microsoft.com/office/drawing/2014/main" xmlns="" id="{1324A4B9-8D88-402A-9A61-553034EF06F9}"/>
              </a:ext>
            </a:extLst>
          </p:cNvPr>
          <p:cNvSpPr/>
          <p:nvPr/>
        </p:nvSpPr>
        <p:spPr>
          <a:xfrm>
            <a:off x="3962317" y="5378020"/>
            <a:ext cx="5515268" cy="42713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Rectangle 6">
            <a:extLst>
              <a:ext uri="{FF2B5EF4-FFF2-40B4-BE49-F238E27FC236}">
                <a16:creationId xmlns:a16="http://schemas.microsoft.com/office/drawing/2014/main" xmlns="" id="{03B21F54-579D-4DDE-9938-5F843A02E0EE}"/>
              </a:ext>
            </a:extLst>
          </p:cNvPr>
          <p:cNvSpPr/>
          <p:nvPr/>
        </p:nvSpPr>
        <p:spPr>
          <a:xfrm>
            <a:off x="3962317" y="4936209"/>
            <a:ext cx="5515268" cy="42713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7">
            <a:extLst>
              <a:ext uri="{FF2B5EF4-FFF2-40B4-BE49-F238E27FC236}">
                <a16:creationId xmlns:a16="http://schemas.microsoft.com/office/drawing/2014/main" xmlns="" id="{415980C7-EB98-442F-B252-56448E12B071}"/>
              </a:ext>
            </a:extLst>
          </p:cNvPr>
          <p:cNvSpPr/>
          <p:nvPr/>
        </p:nvSpPr>
        <p:spPr>
          <a:xfrm>
            <a:off x="3962317" y="4494398"/>
            <a:ext cx="5515268" cy="4271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Triangle 8">
            <a:extLst>
              <a:ext uri="{FF2B5EF4-FFF2-40B4-BE49-F238E27FC236}">
                <a16:creationId xmlns:a16="http://schemas.microsoft.com/office/drawing/2014/main" xmlns="" id="{C82CB794-0457-4CF9-9B68-162CB57104A3}"/>
              </a:ext>
            </a:extLst>
          </p:cNvPr>
          <p:cNvSpPr/>
          <p:nvPr/>
        </p:nvSpPr>
        <p:spPr>
          <a:xfrm rot="5400000">
            <a:off x="8460793" y="3330013"/>
            <a:ext cx="3506293" cy="1443985"/>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47" name="Rectangle 9">
            <a:extLst>
              <a:ext uri="{FF2B5EF4-FFF2-40B4-BE49-F238E27FC236}">
                <a16:creationId xmlns:a16="http://schemas.microsoft.com/office/drawing/2014/main" xmlns="" id="{E812E71A-0B46-4835-B376-31E7B28C108A}"/>
              </a:ext>
            </a:extLst>
          </p:cNvPr>
          <p:cNvSpPr/>
          <p:nvPr/>
        </p:nvSpPr>
        <p:spPr>
          <a:xfrm>
            <a:off x="3962317" y="2298017"/>
            <a:ext cx="1090706" cy="17398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8" name="Rectangle 10">
            <a:extLst>
              <a:ext uri="{FF2B5EF4-FFF2-40B4-BE49-F238E27FC236}">
                <a16:creationId xmlns:a16="http://schemas.microsoft.com/office/drawing/2014/main" xmlns="" id="{484D4BF9-926A-4C21-A14F-3411CA991DD2}"/>
              </a:ext>
            </a:extLst>
          </p:cNvPr>
          <p:cNvSpPr/>
          <p:nvPr/>
        </p:nvSpPr>
        <p:spPr>
          <a:xfrm>
            <a:off x="5065474" y="2298017"/>
            <a:ext cx="1090706" cy="1739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9" name="Rectangle 11">
            <a:extLst>
              <a:ext uri="{FF2B5EF4-FFF2-40B4-BE49-F238E27FC236}">
                <a16:creationId xmlns:a16="http://schemas.microsoft.com/office/drawing/2014/main" xmlns="" id="{FD50AAAF-4ACA-4524-92E3-73568B8BEEA0}"/>
              </a:ext>
            </a:extLst>
          </p:cNvPr>
          <p:cNvSpPr/>
          <p:nvPr/>
        </p:nvSpPr>
        <p:spPr>
          <a:xfrm>
            <a:off x="6168632" y="2298017"/>
            <a:ext cx="1090706" cy="1739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0" name="Rectangle 12">
            <a:extLst>
              <a:ext uri="{FF2B5EF4-FFF2-40B4-BE49-F238E27FC236}">
                <a16:creationId xmlns:a16="http://schemas.microsoft.com/office/drawing/2014/main" xmlns="" id="{4DE1B283-3240-4275-B8DE-D4B5B7FC127A}"/>
              </a:ext>
            </a:extLst>
          </p:cNvPr>
          <p:cNvSpPr/>
          <p:nvPr/>
        </p:nvSpPr>
        <p:spPr>
          <a:xfrm>
            <a:off x="7276403" y="2298017"/>
            <a:ext cx="1090706" cy="17398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Rectangle 13">
            <a:extLst>
              <a:ext uri="{FF2B5EF4-FFF2-40B4-BE49-F238E27FC236}">
                <a16:creationId xmlns:a16="http://schemas.microsoft.com/office/drawing/2014/main" xmlns="" id="{DC40C1A5-08D6-4A31-B903-77E9C163448B}"/>
              </a:ext>
            </a:extLst>
          </p:cNvPr>
          <p:cNvSpPr/>
          <p:nvPr/>
        </p:nvSpPr>
        <p:spPr>
          <a:xfrm flipH="1">
            <a:off x="8385329" y="2298859"/>
            <a:ext cx="1090706" cy="17398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TextBox 14">
            <a:extLst>
              <a:ext uri="{FF2B5EF4-FFF2-40B4-BE49-F238E27FC236}">
                <a16:creationId xmlns:a16="http://schemas.microsoft.com/office/drawing/2014/main" xmlns="" id="{2B7FFCA3-8832-494D-A5F9-C736602BD185}"/>
              </a:ext>
            </a:extLst>
          </p:cNvPr>
          <p:cNvSpPr txBox="1"/>
          <p:nvPr/>
        </p:nvSpPr>
        <p:spPr>
          <a:xfrm>
            <a:off x="5667420" y="4100298"/>
            <a:ext cx="2105063"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FIRM INFRASTRUCTURE</a:t>
            </a:r>
            <a:endParaRPr lang="en-GB" sz="1600" b="1" dirty="0">
              <a:solidFill>
                <a:schemeClr val="bg1"/>
              </a:solidFill>
              <a:latin typeface="+mj-lt"/>
              <a:cs typeface="Poppins" pitchFamily="2" charset="77"/>
            </a:endParaRPr>
          </a:p>
        </p:txBody>
      </p:sp>
      <p:sp>
        <p:nvSpPr>
          <p:cNvPr id="53" name="TextBox 15">
            <a:extLst>
              <a:ext uri="{FF2B5EF4-FFF2-40B4-BE49-F238E27FC236}">
                <a16:creationId xmlns:a16="http://schemas.microsoft.com/office/drawing/2014/main" xmlns="" id="{0B0B5F43-4472-42D3-A87B-855FEAF4CDFD}"/>
              </a:ext>
            </a:extLst>
          </p:cNvPr>
          <p:cNvSpPr txBox="1"/>
          <p:nvPr/>
        </p:nvSpPr>
        <p:spPr>
          <a:xfrm>
            <a:off x="5196234" y="4540780"/>
            <a:ext cx="3047437"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HUMAN RESOURCE MANAGEMENT</a:t>
            </a:r>
            <a:endParaRPr lang="en-GB" sz="1600" b="1" dirty="0">
              <a:solidFill>
                <a:schemeClr val="bg1"/>
              </a:solidFill>
              <a:latin typeface="+mj-lt"/>
              <a:cs typeface="Poppins" pitchFamily="2" charset="77"/>
            </a:endParaRPr>
          </a:p>
        </p:txBody>
      </p:sp>
      <p:sp>
        <p:nvSpPr>
          <p:cNvPr id="54" name="TextBox 16">
            <a:extLst>
              <a:ext uri="{FF2B5EF4-FFF2-40B4-BE49-F238E27FC236}">
                <a16:creationId xmlns:a16="http://schemas.microsoft.com/office/drawing/2014/main" xmlns="" id="{358B3BD9-1B5D-4144-B1AA-3660E3A8884E}"/>
              </a:ext>
            </a:extLst>
          </p:cNvPr>
          <p:cNvSpPr txBox="1"/>
          <p:nvPr/>
        </p:nvSpPr>
        <p:spPr>
          <a:xfrm>
            <a:off x="5428861" y="4981828"/>
            <a:ext cx="2582182"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TECHNOLOGY DEVELOPMENT</a:t>
            </a:r>
            <a:endParaRPr lang="en-GB" sz="1600" b="1" dirty="0">
              <a:solidFill>
                <a:schemeClr val="bg1"/>
              </a:solidFill>
              <a:latin typeface="+mj-lt"/>
              <a:cs typeface="Poppins" pitchFamily="2" charset="77"/>
            </a:endParaRPr>
          </a:p>
        </p:txBody>
      </p:sp>
      <p:sp>
        <p:nvSpPr>
          <p:cNvPr id="55" name="TextBox 17">
            <a:extLst>
              <a:ext uri="{FF2B5EF4-FFF2-40B4-BE49-F238E27FC236}">
                <a16:creationId xmlns:a16="http://schemas.microsoft.com/office/drawing/2014/main" xmlns="" id="{E1519BCE-6A7C-45C7-B8EE-5AE83D30273E}"/>
              </a:ext>
            </a:extLst>
          </p:cNvPr>
          <p:cNvSpPr txBox="1"/>
          <p:nvPr/>
        </p:nvSpPr>
        <p:spPr>
          <a:xfrm>
            <a:off x="5990617" y="5422967"/>
            <a:ext cx="1458669"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PROCUREMENT</a:t>
            </a:r>
            <a:endParaRPr lang="en-GB" sz="1600" b="1" dirty="0">
              <a:solidFill>
                <a:schemeClr val="bg1"/>
              </a:solidFill>
              <a:latin typeface="+mj-lt"/>
              <a:cs typeface="Poppins" pitchFamily="2" charset="77"/>
            </a:endParaRPr>
          </a:p>
        </p:txBody>
      </p:sp>
      <p:sp>
        <p:nvSpPr>
          <p:cNvPr id="56" name="TextBox 23">
            <a:extLst>
              <a:ext uri="{FF2B5EF4-FFF2-40B4-BE49-F238E27FC236}">
                <a16:creationId xmlns:a16="http://schemas.microsoft.com/office/drawing/2014/main" xmlns="" id="{683D4601-BA8E-41C3-BCA1-90200A27A667}"/>
              </a:ext>
            </a:extLst>
          </p:cNvPr>
          <p:cNvSpPr txBox="1"/>
          <p:nvPr/>
        </p:nvSpPr>
        <p:spPr>
          <a:xfrm>
            <a:off x="9692123" y="3868634"/>
            <a:ext cx="797975"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VALUES</a:t>
            </a:r>
            <a:endParaRPr lang="en-GB" sz="1600" b="1" dirty="0">
              <a:solidFill>
                <a:schemeClr val="bg1"/>
              </a:solidFill>
              <a:latin typeface="+mj-lt"/>
              <a:cs typeface="Poppins" pitchFamily="2" charset="77"/>
            </a:endParaRPr>
          </a:p>
        </p:txBody>
      </p:sp>
      <p:sp>
        <p:nvSpPr>
          <p:cNvPr id="57" name="TextBox 25">
            <a:extLst>
              <a:ext uri="{FF2B5EF4-FFF2-40B4-BE49-F238E27FC236}">
                <a16:creationId xmlns:a16="http://schemas.microsoft.com/office/drawing/2014/main" xmlns="" id="{ECA2F8E6-ED24-47E7-B7B3-572F3DBE799B}"/>
              </a:ext>
            </a:extLst>
          </p:cNvPr>
          <p:cNvSpPr txBox="1"/>
          <p:nvPr/>
        </p:nvSpPr>
        <p:spPr>
          <a:xfrm>
            <a:off x="5726354" y="5833805"/>
            <a:ext cx="1854226" cy="338554"/>
          </a:xfrm>
          <a:prstGeom prst="rect">
            <a:avLst/>
          </a:prstGeom>
          <a:noFill/>
        </p:spPr>
        <p:txBody>
          <a:bodyPr wrap="none" rtlCol="0" anchor="ctr">
            <a:spAutoFit/>
          </a:bodyPr>
          <a:lstStyle/>
          <a:p>
            <a:pPr algn="ctr"/>
            <a:r>
              <a:rPr lang="en-GB" sz="1600" b="1">
                <a:solidFill>
                  <a:schemeClr val="tx2"/>
                </a:solidFill>
                <a:latin typeface="+mj-lt"/>
                <a:cs typeface="Poppins" pitchFamily="2" charset="77"/>
              </a:rPr>
              <a:t>SUPPORT ACTIVITIES</a:t>
            </a:r>
            <a:endParaRPr lang="en-GB" sz="1600" b="1" dirty="0">
              <a:solidFill>
                <a:schemeClr val="tx2"/>
              </a:solidFill>
              <a:latin typeface="+mj-lt"/>
              <a:cs typeface="Poppins" pitchFamily="2" charset="77"/>
            </a:endParaRPr>
          </a:p>
        </p:txBody>
      </p:sp>
      <p:sp>
        <p:nvSpPr>
          <p:cNvPr id="58" name="TextBox 26">
            <a:extLst>
              <a:ext uri="{FF2B5EF4-FFF2-40B4-BE49-F238E27FC236}">
                <a16:creationId xmlns:a16="http://schemas.microsoft.com/office/drawing/2014/main" xmlns="" id="{891D1289-37E0-46DE-B247-F395980F8133}"/>
              </a:ext>
            </a:extLst>
          </p:cNvPr>
          <p:cNvSpPr txBox="1"/>
          <p:nvPr/>
        </p:nvSpPr>
        <p:spPr>
          <a:xfrm rot="16200000">
            <a:off x="2839162" y="2998687"/>
            <a:ext cx="1837683" cy="338554"/>
          </a:xfrm>
          <a:prstGeom prst="rect">
            <a:avLst/>
          </a:prstGeom>
          <a:noFill/>
        </p:spPr>
        <p:txBody>
          <a:bodyPr wrap="none" rtlCol="0" anchor="ctr">
            <a:spAutoFit/>
          </a:bodyPr>
          <a:lstStyle/>
          <a:p>
            <a:pPr algn="ctr"/>
            <a:r>
              <a:rPr lang="en-GB" sz="1600" b="1">
                <a:solidFill>
                  <a:schemeClr val="tx2"/>
                </a:solidFill>
                <a:latin typeface="+mj-lt"/>
                <a:cs typeface="Poppins" pitchFamily="2" charset="77"/>
              </a:rPr>
              <a:t>PRIMARY ACTIVITIES</a:t>
            </a:r>
            <a:endParaRPr lang="en-GB" sz="1600" b="1" dirty="0">
              <a:solidFill>
                <a:schemeClr val="tx2"/>
              </a:solidFill>
              <a:latin typeface="+mj-lt"/>
              <a:cs typeface="Poppins" pitchFamily="2" charset="77"/>
            </a:endParaRPr>
          </a:p>
        </p:txBody>
      </p:sp>
      <p:sp>
        <p:nvSpPr>
          <p:cNvPr id="59" name="TextBox 18">
            <a:extLst>
              <a:ext uri="{FF2B5EF4-FFF2-40B4-BE49-F238E27FC236}">
                <a16:creationId xmlns:a16="http://schemas.microsoft.com/office/drawing/2014/main" xmlns="" id="{0482A1AE-4A44-4379-8A75-A32EF6697430}"/>
              </a:ext>
            </a:extLst>
          </p:cNvPr>
          <p:cNvSpPr txBox="1"/>
          <p:nvPr/>
        </p:nvSpPr>
        <p:spPr>
          <a:xfrm>
            <a:off x="3957805" y="3311645"/>
            <a:ext cx="1008995"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CS</a:t>
            </a:r>
          </a:p>
        </p:txBody>
      </p:sp>
      <p:sp>
        <p:nvSpPr>
          <p:cNvPr id="60" name="TextBox 19">
            <a:extLst>
              <a:ext uri="{FF2B5EF4-FFF2-40B4-BE49-F238E27FC236}">
                <a16:creationId xmlns:a16="http://schemas.microsoft.com/office/drawing/2014/main" xmlns="" id="{0B2B1D00-322C-4A2A-9BB5-F7102CB793EC}"/>
              </a:ext>
            </a:extLst>
          </p:cNvPr>
          <p:cNvSpPr txBox="1"/>
          <p:nvPr/>
        </p:nvSpPr>
        <p:spPr>
          <a:xfrm>
            <a:off x="4991738" y="3395338"/>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61" name="TextBox 20">
            <a:extLst>
              <a:ext uri="{FF2B5EF4-FFF2-40B4-BE49-F238E27FC236}">
                <a16:creationId xmlns:a16="http://schemas.microsoft.com/office/drawing/2014/main" xmlns="" id="{224C32E0-F119-4A8E-B1DF-9FAE34F34BEA}"/>
              </a:ext>
            </a:extLst>
          </p:cNvPr>
          <p:cNvSpPr txBox="1"/>
          <p:nvPr/>
        </p:nvSpPr>
        <p:spPr>
          <a:xfrm>
            <a:off x="6119044" y="3333588"/>
            <a:ext cx="1159293"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CS</a:t>
            </a:r>
          </a:p>
        </p:txBody>
      </p:sp>
      <p:sp>
        <p:nvSpPr>
          <p:cNvPr id="62" name="TextBox 21">
            <a:extLst>
              <a:ext uri="{FF2B5EF4-FFF2-40B4-BE49-F238E27FC236}">
                <a16:creationId xmlns:a16="http://schemas.microsoft.com/office/drawing/2014/main" xmlns="" id="{14E08276-DA83-4B01-8785-1EEB7B7A119E}"/>
              </a:ext>
            </a:extLst>
          </p:cNvPr>
          <p:cNvSpPr txBox="1"/>
          <p:nvPr/>
        </p:nvSpPr>
        <p:spPr>
          <a:xfrm>
            <a:off x="7218567" y="3301033"/>
            <a:ext cx="1176925"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ND SALES</a:t>
            </a:r>
          </a:p>
        </p:txBody>
      </p:sp>
      <p:sp>
        <p:nvSpPr>
          <p:cNvPr id="63" name="TextBox 22">
            <a:extLst>
              <a:ext uri="{FF2B5EF4-FFF2-40B4-BE49-F238E27FC236}">
                <a16:creationId xmlns:a16="http://schemas.microsoft.com/office/drawing/2014/main" xmlns="" id="{5CA3366C-4790-4630-9AD3-89202D826674}"/>
              </a:ext>
            </a:extLst>
          </p:cNvPr>
          <p:cNvSpPr txBox="1"/>
          <p:nvPr/>
        </p:nvSpPr>
        <p:spPr>
          <a:xfrm>
            <a:off x="8508035" y="3287422"/>
            <a:ext cx="845296" cy="338554"/>
          </a:xfrm>
          <a:prstGeom prst="rect">
            <a:avLst/>
          </a:prstGeom>
          <a:noFill/>
        </p:spPr>
        <p:txBody>
          <a:bodyPr wrap="none" rtlCol="0" anchor="t">
            <a:spAutoFit/>
          </a:bodyPr>
          <a:lstStyle/>
          <a:p>
            <a:pPr algn="ctr"/>
            <a:r>
              <a:rPr lang="en-GB" sz="1600" b="1">
                <a:solidFill>
                  <a:schemeClr val="bg1"/>
                </a:solidFill>
                <a:latin typeface="+mj-lt"/>
                <a:cs typeface="Poppins" pitchFamily="2" charset="77"/>
              </a:rPr>
              <a:t>SERVICE</a:t>
            </a:r>
            <a:endParaRPr lang="en-GB" sz="1600" b="1" dirty="0">
              <a:solidFill>
                <a:schemeClr val="bg1"/>
              </a:solidFill>
              <a:latin typeface="+mj-lt"/>
              <a:cs typeface="Poppins" pitchFamily="2" charset="77"/>
            </a:endParaRPr>
          </a:p>
        </p:txBody>
      </p:sp>
      <p:sp>
        <p:nvSpPr>
          <p:cNvPr id="64" name="Freeform 223">
            <a:extLst>
              <a:ext uri="{FF2B5EF4-FFF2-40B4-BE49-F238E27FC236}">
                <a16:creationId xmlns:a16="http://schemas.microsoft.com/office/drawing/2014/main" xmlns="" id="{4D77EC7A-C407-492C-A833-50CF4301C950}"/>
              </a:ext>
            </a:extLst>
          </p:cNvPr>
          <p:cNvSpPr>
            <a:spLocks noChangeArrowheads="1"/>
          </p:cNvSpPr>
          <p:nvPr/>
        </p:nvSpPr>
        <p:spPr bwMode="auto">
          <a:xfrm>
            <a:off x="5374188" y="2860806"/>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65" name="Freeform 233">
            <a:extLst>
              <a:ext uri="{FF2B5EF4-FFF2-40B4-BE49-F238E27FC236}">
                <a16:creationId xmlns:a16="http://schemas.microsoft.com/office/drawing/2014/main" xmlns="" id="{A845C0A5-EC93-4884-AB9E-9E12C9F12BB4}"/>
              </a:ext>
            </a:extLst>
          </p:cNvPr>
          <p:cNvSpPr>
            <a:spLocks noChangeArrowheads="1"/>
          </p:cNvSpPr>
          <p:nvPr/>
        </p:nvSpPr>
        <p:spPr bwMode="auto">
          <a:xfrm>
            <a:off x="4270597" y="2786857"/>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66" name="Freeform 236">
            <a:extLst>
              <a:ext uri="{FF2B5EF4-FFF2-40B4-BE49-F238E27FC236}">
                <a16:creationId xmlns:a16="http://schemas.microsoft.com/office/drawing/2014/main" xmlns="" id="{CCBC3F26-4677-4200-8DA9-6B2D3E935F41}"/>
              </a:ext>
            </a:extLst>
          </p:cNvPr>
          <p:cNvSpPr>
            <a:spLocks noChangeArrowheads="1"/>
          </p:cNvSpPr>
          <p:nvPr/>
        </p:nvSpPr>
        <p:spPr bwMode="auto">
          <a:xfrm>
            <a:off x="6413512" y="2860805"/>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67" name="Freeform 242">
            <a:extLst>
              <a:ext uri="{FF2B5EF4-FFF2-40B4-BE49-F238E27FC236}">
                <a16:creationId xmlns:a16="http://schemas.microsoft.com/office/drawing/2014/main" xmlns="" id="{C15DF3D8-689B-4F42-BE3A-9EA6C5BCDBA2}"/>
              </a:ext>
            </a:extLst>
          </p:cNvPr>
          <p:cNvSpPr>
            <a:spLocks noChangeArrowheads="1"/>
          </p:cNvSpPr>
          <p:nvPr/>
        </p:nvSpPr>
        <p:spPr bwMode="auto">
          <a:xfrm>
            <a:off x="7576463" y="2699872"/>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68" name="Freeform 245">
            <a:extLst>
              <a:ext uri="{FF2B5EF4-FFF2-40B4-BE49-F238E27FC236}">
                <a16:creationId xmlns:a16="http://schemas.microsoft.com/office/drawing/2014/main" xmlns="" id="{8EE60291-B51D-48BF-B8F6-169C5C6FF008}"/>
              </a:ext>
            </a:extLst>
          </p:cNvPr>
          <p:cNvSpPr>
            <a:spLocks noChangeArrowheads="1"/>
          </p:cNvSpPr>
          <p:nvPr/>
        </p:nvSpPr>
        <p:spPr bwMode="auto">
          <a:xfrm>
            <a:off x="8673106" y="2695546"/>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69" name="Left Arrow 33">
            <a:extLst>
              <a:ext uri="{FF2B5EF4-FFF2-40B4-BE49-F238E27FC236}">
                <a16:creationId xmlns:a16="http://schemas.microsoft.com/office/drawing/2014/main" xmlns="" id="{CA25C062-4462-4566-A3F9-B5DF68C0371F}"/>
              </a:ext>
            </a:extLst>
          </p:cNvPr>
          <p:cNvSpPr/>
          <p:nvPr/>
        </p:nvSpPr>
        <p:spPr>
          <a:xfrm>
            <a:off x="3962318" y="5922451"/>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0" name="Right Arrow 34">
            <a:extLst>
              <a:ext uri="{FF2B5EF4-FFF2-40B4-BE49-F238E27FC236}">
                <a16:creationId xmlns:a16="http://schemas.microsoft.com/office/drawing/2014/main" xmlns="" id="{3A3B4C79-AABD-4948-B4D5-E81A5ADA2D04}"/>
              </a:ext>
            </a:extLst>
          </p:cNvPr>
          <p:cNvSpPr/>
          <p:nvPr/>
        </p:nvSpPr>
        <p:spPr>
          <a:xfrm>
            <a:off x="7657778" y="5922451"/>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Tree>
    <p:extLst>
      <p:ext uri="{BB962C8B-B14F-4D97-AF65-F5344CB8AC3E}">
        <p14:creationId xmlns:p14="http://schemas.microsoft.com/office/powerpoint/2010/main" val="3702684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What you will learn from Module 05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5324535"/>
          </a:xfrm>
          <a:prstGeom prst="rect">
            <a:avLst/>
          </a:prstGeom>
          <a:noFill/>
        </p:spPr>
        <p:txBody>
          <a:bodyPr wrap="square">
            <a:spAutoFit/>
          </a:bodyPr>
          <a:lstStyle/>
          <a:p>
            <a:endParaRPr lang="en-GB" sz="2000" dirty="0">
              <a:solidFill>
                <a:schemeClr val="bg1"/>
              </a:solidFill>
            </a:endParaRPr>
          </a:p>
          <a:p>
            <a:r>
              <a:rPr lang="en-GB" sz="2000" b="1" dirty="0">
                <a:solidFill>
                  <a:schemeClr val="bg1"/>
                </a:solidFill>
                <a:latin typeface="+mj-lt"/>
                <a:ea typeface="Open Sans Light" panose="020B0306030504020204" pitchFamily="34" charset="0"/>
                <a:cs typeface="Open Sans Light" panose="020B0306030504020204" pitchFamily="34" charset="0"/>
              </a:rPr>
              <a:t>In Module 05, The Strategic Side of Restructuring, y</a:t>
            </a:r>
            <a:r>
              <a:rPr lang="en-IE" sz="2000" dirty="0" err="1">
                <a:solidFill>
                  <a:schemeClr val="bg1"/>
                </a:solidFill>
              </a:rPr>
              <a:t>ou</a:t>
            </a:r>
            <a:r>
              <a:rPr lang="en-IE" sz="2000" dirty="0">
                <a:solidFill>
                  <a:schemeClr val="bg1"/>
                </a:solidFill>
              </a:rPr>
              <a:t> will benefit from learning to </a:t>
            </a:r>
          </a:p>
          <a:p>
            <a:endParaRPr lang="en-IE" sz="2000" dirty="0">
              <a:solidFill>
                <a:schemeClr val="bg1"/>
              </a:solidFill>
            </a:endParaRPr>
          </a:p>
          <a:p>
            <a:pPr marL="342900" indent="-342900">
              <a:buFont typeface="Arial" panose="020B0604020202020204" pitchFamily="34" charset="0"/>
              <a:buChar char="•"/>
            </a:pPr>
            <a:r>
              <a:rPr lang="en-GB" sz="2000" b="1" u="sng" dirty="0">
                <a:solidFill>
                  <a:schemeClr val="bg1"/>
                </a:solidFill>
              </a:rPr>
              <a:t>Understand Restructuring Concepts </a:t>
            </a:r>
            <a:r>
              <a:rPr lang="en-GB" sz="2000" dirty="0">
                <a:solidFill>
                  <a:schemeClr val="bg1"/>
                </a:solidFill>
              </a:rPr>
              <a:t>across 4 keys areas of business, the importance of a new Mission Statement and Integrated Business Planning</a:t>
            </a:r>
          </a:p>
          <a:p>
            <a:pPr marL="342900" indent="-342900">
              <a:buFont typeface="Arial" panose="020B0604020202020204" pitchFamily="34" charset="0"/>
              <a:buChar char="•"/>
            </a:pPr>
            <a:r>
              <a:rPr lang="en-GB" sz="2000" b="1" u="sng" dirty="0">
                <a:solidFill>
                  <a:schemeClr val="bg1"/>
                </a:solidFill>
              </a:rPr>
              <a:t>Upskill in Reducing Crisis Impact</a:t>
            </a:r>
            <a:r>
              <a:rPr lang="en-GB" sz="2000" dirty="0">
                <a:solidFill>
                  <a:schemeClr val="bg1"/>
                </a:solidFill>
              </a:rPr>
              <a:t>, measures including a basic toll box to identify and mitigate crisis</a:t>
            </a:r>
          </a:p>
          <a:p>
            <a:pPr marL="342900" indent="-342900">
              <a:buFont typeface="Arial" panose="020B0604020202020204" pitchFamily="34" charset="0"/>
              <a:buChar char="•"/>
            </a:pPr>
            <a:r>
              <a:rPr lang="en-GB" sz="2000" b="1" u="sng" dirty="0">
                <a:solidFill>
                  <a:schemeClr val="bg1"/>
                </a:solidFill>
              </a:rPr>
              <a:t>Manage the Crisis</a:t>
            </a:r>
            <a:r>
              <a:rPr lang="en-GB" sz="2000" dirty="0">
                <a:solidFill>
                  <a:schemeClr val="bg1"/>
                </a:solidFill>
              </a:rPr>
              <a:t>, the basis measures needed covering overcoming a liquidity crisis, working capital management, and Quick Measures for Marketing and Sales, 14 Procurement Savings ideas, Intelligent Cost Reduction and Production. </a:t>
            </a:r>
          </a:p>
          <a:p>
            <a:pPr marL="342900" indent="-342900">
              <a:buFont typeface="Arial" panose="020B0604020202020204" pitchFamily="34" charset="0"/>
              <a:buChar char="•"/>
            </a:pPr>
            <a:r>
              <a:rPr lang="en-GB" sz="2000" b="1" u="sng" dirty="0">
                <a:solidFill>
                  <a:schemeClr val="bg1"/>
                </a:solidFill>
              </a:rPr>
              <a:t>Understand ways to overcome crisis </a:t>
            </a:r>
            <a:r>
              <a:rPr lang="en-GB" sz="2000" dirty="0">
                <a:solidFill>
                  <a:schemeClr val="bg1"/>
                </a:solidFill>
              </a:rPr>
              <a:t>across different elements of the business including 6 ways to overcome a seasonal sales and product crisis,  how to overcome an earnings crisis, reducing materials and 3 approaches to reducing personnel costs </a:t>
            </a:r>
          </a:p>
          <a:p>
            <a:pPr marL="342900" indent="-342900">
              <a:buFont typeface="Arial" panose="020B0604020202020204" pitchFamily="34" charset="0"/>
              <a:buChar char="•"/>
            </a:pPr>
            <a:r>
              <a:rPr lang="en-GB" sz="2000" b="1" dirty="0">
                <a:solidFill>
                  <a:schemeClr val="bg1"/>
                </a:solidFill>
              </a:rPr>
              <a:t>New approaches to </a:t>
            </a:r>
            <a:r>
              <a:rPr lang="en-GB" sz="2000" b="1" u="sng" dirty="0">
                <a:solidFill>
                  <a:schemeClr val="bg1"/>
                </a:solidFill>
              </a:rPr>
              <a:t>Overcome Crisis Strategy</a:t>
            </a:r>
          </a:p>
          <a:p>
            <a:pPr marL="342900" indent="-342900">
              <a:buFont typeface="Arial" panose="020B0604020202020204" pitchFamily="34" charset="0"/>
              <a:buChar char="•"/>
            </a:pPr>
            <a:r>
              <a:rPr lang="en-GB" sz="2000" b="1" u="sng" dirty="0">
                <a:solidFill>
                  <a:schemeClr val="bg1"/>
                </a:solidFill>
              </a:rPr>
              <a:t>Upskill in Financial Restructuring </a:t>
            </a:r>
            <a:r>
              <a:rPr lang="en-GB" sz="2000" b="1" u="sng" dirty="0" err="1">
                <a:solidFill>
                  <a:schemeClr val="bg1"/>
                </a:solidFill>
              </a:rPr>
              <a:t>methodolgies</a:t>
            </a:r>
            <a:endParaRPr lang="en-GB" sz="2000" b="1" u="sng" dirty="0">
              <a:solidFill>
                <a:schemeClr val="bg1"/>
              </a:solidFill>
            </a:endParaRPr>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64923" y="546170"/>
            <a:ext cx="8852375" cy="697353"/>
          </a:xfrm>
        </p:spPr>
        <p:txBody>
          <a:bodyPr>
            <a:normAutofit/>
          </a:bodyPr>
          <a:lstStyle/>
          <a:p>
            <a:r>
              <a:rPr lang="en-GB" dirty="0"/>
              <a:t>Restructuring Concept: Industry Analy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2643" y="2129346"/>
            <a:ext cx="3625236" cy="38064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n industry analysis is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a business function completed by business owners and other individuals to assess the current business environment. This analysis helps businesses understand various economic pieces of the marketplace and how these various pieces may be used to gain a competitive advantage.</a:t>
            </a:r>
            <a:endParaRPr lang="en-US" dirty="0">
              <a:solidFill>
                <a:srgbClr val="245473"/>
              </a:solidFill>
            </a:endParaRPr>
          </a:p>
        </p:txBody>
      </p:sp>
      <p:grpSp>
        <p:nvGrpSpPr>
          <p:cNvPr id="3" name="Gruppieren 2">
            <a:extLst>
              <a:ext uri="{FF2B5EF4-FFF2-40B4-BE49-F238E27FC236}">
                <a16:creationId xmlns:a16="http://schemas.microsoft.com/office/drawing/2014/main" xmlns="" id="{9D1F3F19-52DA-468A-9944-1184B4CBAAB2}"/>
              </a:ext>
            </a:extLst>
          </p:cNvPr>
          <p:cNvGrpSpPr>
            <a:grpSpLocks noChangeAspect="1"/>
          </p:cNvGrpSpPr>
          <p:nvPr/>
        </p:nvGrpSpPr>
        <p:grpSpPr>
          <a:xfrm>
            <a:off x="4016325" y="2075965"/>
            <a:ext cx="6640089" cy="4193552"/>
            <a:chOff x="2185643" y="1469137"/>
            <a:chExt cx="8000107" cy="5052472"/>
          </a:xfrm>
        </p:grpSpPr>
        <p:pic>
          <p:nvPicPr>
            <p:cNvPr id="33" name="Grafik 32">
              <a:extLst>
                <a:ext uri="{FF2B5EF4-FFF2-40B4-BE49-F238E27FC236}">
                  <a16:creationId xmlns:a16="http://schemas.microsoft.com/office/drawing/2014/main" xmlns="" id="{E66801E6-618E-404B-B122-DB3B83B8B5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85643" y="1469137"/>
              <a:ext cx="7471051" cy="4866889"/>
            </a:xfrm>
            <a:prstGeom prst="rect">
              <a:avLst/>
            </a:prstGeom>
          </p:spPr>
        </p:pic>
        <p:sp>
          <p:nvSpPr>
            <p:cNvPr id="34" name="Ellipse 33">
              <a:extLst>
                <a:ext uri="{FF2B5EF4-FFF2-40B4-BE49-F238E27FC236}">
                  <a16:creationId xmlns:a16="http://schemas.microsoft.com/office/drawing/2014/main" xmlns="" id="{533EAD79-4029-44EE-922A-6DABD593C31C}"/>
                </a:ext>
              </a:extLst>
            </p:cNvPr>
            <p:cNvSpPr/>
            <p:nvPr/>
          </p:nvSpPr>
          <p:spPr>
            <a:xfrm>
              <a:off x="4134285" y="1844519"/>
              <a:ext cx="3924041" cy="3924041"/>
            </a:xfrm>
            <a:prstGeom prst="ellipse">
              <a:avLst/>
            </a:prstGeom>
            <a:solidFill>
              <a:srgbClr val="E53292">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kern="0" dirty="0">
                  <a:solidFill>
                    <a:schemeClr val="tx1"/>
                  </a:solidFill>
                  <a:highlight>
                    <a:srgbClr val="FFFF00"/>
                  </a:highlight>
                  <a:latin typeface="+mj-lt"/>
                  <a:cs typeface="Segoe UI Semibold" panose="020B0702040204020203" pitchFamily="34" charset="0"/>
                </a:rPr>
                <a:t>Industry</a:t>
              </a:r>
              <a:br>
                <a:rPr lang="en-GB" sz="2000" b="1" kern="0" dirty="0">
                  <a:solidFill>
                    <a:schemeClr val="tx1"/>
                  </a:solidFill>
                  <a:highlight>
                    <a:srgbClr val="FFFF00"/>
                  </a:highlight>
                  <a:latin typeface="+mj-lt"/>
                  <a:cs typeface="Segoe UI Semibold" panose="020B0702040204020203" pitchFamily="34" charset="0"/>
                </a:rPr>
              </a:br>
              <a:r>
                <a:rPr lang="en-GB" sz="2000" b="1" kern="0" dirty="0">
                  <a:solidFill>
                    <a:schemeClr val="tx1"/>
                  </a:solidFill>
                  <a:highlight>
                    <a:srgbClr val="FFFF00"/>
                  </a:highlight>
                  <a:latin typeface="+mj-lt"/>
                  <a:cs typeface="Segoe UI Semibold" panose="020B0702040204020203" pitchFamily="34" charset="0"/>
                </a:rPr>
                <a:t>Environment</a:t>
              </a:r>
            </a:p>
          </p:txBody>
        </p:sp>
        <p:grpSp>
          <p:nvGrpSpPr>
            <p:cNvPr id="35" name="Gruppieren 34">
              <a:extLst>
                <a:ext uri="{FF2B5EF4-FFF2-40B4-BE49-F238E27FC236}">
                  <a16:creationId xmlns:a16="http://schemas.microsoft.com/office/drawing/2014/main" xmlns="" id="{6B0E5208-74D5-4F3A-8D3A-009BAFBB75E8}"/>
                </a:ext>
              </a:extLst>
            </p:cNvPr>
            <p:cNvGrpSpPr/>
            <p:nvPr/>
          </p:nvGrpSpPr>
          <p:grpSpPr>
            <a:xfrm>
              <a:off x="3604812" y="1568213"/>
              <a:ext cx="4982986" cy="4564244"/>
              <a:chOff x="2080812" y="1311038"/>
              <a:chExt cx="4982986" cy="4564244"/>
            </a:xfrm>
            <a:solidFill>
              <a:schemeClr val="tx2"/>
            </a:solidFill>
          </p:grpSpPr>
          <p:sp>
            <p:nvSpPr>
              <p:cNvPr id="36" name="Freeform 5">
                <a:extLst>
                  <a:ext uri="{FF2B5EF4-FFF2-40B4-BE49-F238E27FC236}">
                    <a16:creationId xmlns:a16="http://schemas.microsoft.com/office/drawing/2014/main" xmlns="" id="{807A4719-AF85-4899-B82C-06D7B9966148}"/>
                  </a:ext>
                </a:extLst>
              </p:cNvPr>
              <p:cNvSpPr>
                <a:spLocks/>
              </p:cNvSpPr>
              <p:nvPr/>
            </p:nvSpPr>
            <p:spPr bwMode="auto">
              <a:xfrm>
                <a:off x="2675219" y="1557338"/>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rgbClr val="E53292"/>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5">
                <a:extLst>
                  <a:ext uri="{FF2B5EF4-FFF2-40B4-BE49-F238E27FC236}">
                    <a16:creationId xmlns:a16="http://schemas.microsoft.com/office/drawing/2014/main" xmlns="" id="{BC7396F8-ADBF-4703-AA52-A8187B64A6DC}"/>
                  </a:ext>
                </a:extLst>
              </p:cNvPr>
              <p:cNvSpPr>
                <a:spLocks/>
              </p:cNvSpPr>
              <p:nvPr/>
            </p:nvSpPr>
            <p:spPr bwMode="auto">
              <a:xfrm rot="4320000">
                <a:off x="4598763" y="1557285"/>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chemeClr val="accent2"/>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38" name="Freeform 5">
                <a:extLst>
                  <a:ext uri="{FF2B5EF4-FFF2-40B4-BE49-F238E27FC236}">
                    <a16:creationId xmlns:a16="http://schemas.microsoft.com/office/drawing/2014/main" xmlns="" id="{F37ACACE-1898-4F7D-B313-1F182C16D25F}"/>
                  </a:ext>
                </a:extLst>
              </p:cNvPr>
              <p:cNvSpPr>
                <a:spLocks/>
              </p:cNvSpPr>
              <p:nvPr/>
            </p:nvSpPr>
            <p:spPr bwMode="auto">
              <a:xfrm rot="8640000">
                <a:off x="5196513" y="3368450"/>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chemeClr val="accent5"/>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5">
                <a:extLst>
                  <a:ext uri="{FF2B5EF4-FFF2-40B4-BE49-F238E27FC236}">
                    <a16:creationId xmlns:a16="http://schemas.microsoft.com/office/drawing/2014/main" xmlns="" id="{E5AE4E1B-EC16-4688-8067-1ACDA55D947D}"/>
                  </a:ext>
                </a:extLst>
              </p:cNvPr>
              <p:cNvSpPr>
                <a:spLocks/>
              </p:cNvSpPr>
              <p:nvPr/>
            </p:nvSpPr>
            <p:spPr bwMode="auto">
              <a:xfrm rot="12960000" flipH="1">
                <a:off x="2080812" y="3368451"/>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rgbClr val="002060"/>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5">
                <a:extLst>
                  <a:ext uri="{FF2B5EF4-FFF2-40B4-BE49-F238E27FC236}">
                    <a16:creationId xmlns:a16="http://schemas.microsoft.com/office/drawing/2014/main" xmlns="" id="{93C601D5-2991-449C-B7E6-74059CD9EAA7}"/>
                  </a:ext>
                </a:extLst>
              </p:cNvPr>
              <p:cNvSpPr>
                <a:spLocks/>
              </p:cNvSpPr>
              <p:nvPr/>
            </p:nvSpPr>
            <p:spPr bwMode="auto">
              <a:xfrm rot="8640000" flipH="1">
                <a:off x="3631864" y="4500491"/>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rgbClr val="00B050"/>
              </a:solidFill>
              <a:ln w="12700">
                <a:noFill/>
              </a:ln>
            </p:spPr>
            <p:txBody>
              <a:bodyPr vert="horz" wrap="square" lIns="91440" tIns="45720" rIns="91440" bIns="45720" numCol="1" anchor="t" anchorCtr="0" compatLnSpc="1">
                <a:prstTxWarp prst="textNoShape">
                  <a:avLst/>
                </a:prstTxWarp>
              </a:bodyPr>
              <a:lstStyle/>
              <a:p>
                <a:endParaRPr lang="en-GB" dirty="0"/>
              </a:p>
            </p:txBody>
          </p:sp>
        </p:grpSp>
        <p:sp>
          <p:nvSpPr>
            <p:cNvPr id="41" name="Ellipse 40">
              <a:extLst>
                <a:ext uri="{FF2B5EF4-FFF2-40B4-BE49-F238E27FC236}">
                  <a16:creationId xmlns:a16="http://schemas.microsoft.com/office/drawing/2014/main" xmlns="" id="{AE97D648-F035-4FB2-99ED-6CFE89A9E720}"/>
                </a:ext>
              </a:extLst>
            </p:cNvPr>
            <p:cNvSpPr>
              <a:spLocks noChangeAspect="1"/>
            </p:cNvSpPr>
            <p:nvPr/>
          </p:nvSpPr>
          <p:spPr>
            <a:xfrm>
              <a:off x="5451559" y="4264480"/>
              <a:ext cx="1277170" cy="12463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1" name="Ellipse 70">
              <a:extLst>
                <a:ext uri="{FF2B5EF4-FFF2-40B4-BE49-F238E27FC236}">
                  <a16:creationId xmlns:a16="http://schemas.microsoft.com/office/drawing/2014/main" xmlns="" id="{72D27D13-26BE-47F9-9121-052A818473CC}"/>
                </a:ext>
              </a:extLst>
            </p:cNvPr>
            <p:cNvSpPr>
              <a:spLocks noChangeAspect="1"/>
            </p:cNvSpPr>
            <p:nvPr/>
          </p:nvSpPr>
          <p:spPr>
            <a:xfrm>
              <a:off x="6904183" y="3310335"/>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2" name="Ellipse 71">
              <a:extLst>
                <a:ext uri="{FF2B5EF4-FFF2-40B4-BE49-F238E27FC236}">
                  <a16:creationId xmlns:a16="http://schemas.microsoft.com/office/drawing/2014/main" xmlns="" id="{B0B17926-7179-480F-A939-39BB9FC09AF1}"/>
                </a:ext>
              </a:extLst>
            </p:cNvPr>
            <p:cNvSpPr>
              <a:spLocks noChangeAspect="1"/>
            </p:cNvSpPr>
            <p:nvPr/>
          </p:nvSpPr>
          <p:spPr>
            <a:xfrm>
              <a:off x="4203100" y="3310334"/>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3" name="Ellipse 72">
              <a:extLst>
                <a:ext uri="{FF2B5EF4-FFF2-40B4-BE49-F238E27FC236}">
                  <a16:creationId xmlns:a16="http://schemas.microsoft.com/office/drawing/2014/main" xmlns="" id="{58365737-92C3-4A54-A4F8-3DFC2755F71D}"/>
                </a:ext>
              </a:extLst>
            </p:cNvPr>
            <p:cNvSpPr>
              <a:spLocks noChangeAspect="1"/>
            </p:cNvSpPr>
            <p:nvPr/>
          </p:nvSpPr>
          <p:spPr>
            <a:xfrm>
              <a:off x="5556305" y="203651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4" name="Textplatzhalter 3">
              <a:extLst>
                <a:ext uri="{FF2B5EF4-FFF2-40B4-BE49-F238E27FC236}">
                  <a16:creationId xmlns:a16="http://schemas.microsoft.com/office/drawing/2014/main" xmlns="" id="{B464F53D-2E31-4D47-B3D7-2BA57E2D20A6}"/>
                </a:ext>
              </a:extLst>
            </p:cNvPr>
            <p:cNvSpPr txBox="1">
              <a:spLocks/>
            </p:cNvSpPr>
            <p:nvPr/>
          </p:nvSpPr>
          <p:spPr>
            <a:xfrm>
              <a:off x="7495310" y="5771912"/>
              <a:ext cx="2690440" cy="357454"/>
            </a:xfrm>
            <a:prstGeom prst="rect">
              <a:avLst/>
            </a:prstGeom>
          </p:spPr>
          <p:txBody>
            <a:bodyPr lIns="0" tIns="0" rIns="0" bIns="0" anchor="b"/>
            <a:lstStyle>
              <a:defPPr>
                <a:defRPr lang="de-DE"/>
              </a:defPPr>
              <a:lvl1pPr indent="0" algn="ctr" fontAlgn="auto">
                <a:lnSpc>
                  <a:spcPts val="2000"/>
                </a:lnSpc>
                <a:spcBef>
                  <a:spcPts val="600"/>
                </a:spcBef>
                <a:spcAft>
                  <a:spcPts val="900"/>
                </a:spcAft>
                <a:buFontTx/>
                <a:buNone/>
                <a:defRPr sz="2000" b="0" kern="0" baseline="0">
                  <a:solidFill>
                    <a:schemeClr val="tx2"/>
                  </a:solidFill>
                  <a:latin typeface="+mj-lt"/>
                  <a:cs typeface="Segoe UI Semibold" panose="020B0702040204020203" pitchFamily="34" charset="0"/>
                </a:defRPr>
              </a:lvl1pPr>
              <a:lvl2pPr marL="216000" indent="-216000">
                <a:lnSpc>
                  <a:spcPts val="2000"/>
                </a:lnSpc>
                <a:spcBef>
                  <a:spcPts val="0"/>
                </a:spcBef>
                <a:spcAft>
                  <a:spcPts val="900"/>
                </a:spcAft>
                <a:buFontTx/>
                <a:buChar char="–"/>
                <a:defRPr sz="1600" b="0"/>
              </a:lvl2pPr>
              <a:lvl3pPr marL="450000" indent="-234000">
                <a:lnSpc>
                  <a:spcPts val="2000"/>
                </a:lnSpc>
                <a:spcBef>
                  <a:spcPts val="0"/>
                </a:spcBef>
                <a:spcAft>
                  <a:spcPts val="900"/>
                </a:spcAft>
                <a:buFontTx/>
                <a:buChar char="–"/>
                <a:defRPr sz="1600" b="0"/>
              </a:lvl3pPr>
              <a:lvl4pPr marL="637200" indent="-180000">
                <a:lnSpc>
                  <a:spcPts val="1600"/>
                </a:lnSpc>
                <a:spcBef>
                  <a:spcPts val="0"/>
                </a:spcBef>
                <a:spcAft>
                  <a:spcPts val="900"/>
                </a:spcAft>
                <a:buFontTx/>
                <a:buChar char="–"/>
                <a:defRPr sz="1200" b="0"/>
              </a:lvl4pPr>
              <a:lvl5pPr marL="810000" indent="-172800">
                <a:lnSpc>
                  <a:spcPts val="1600"/>
                </a:lnSpc>
                <a:spcBef>
                  <a:spcPts val="0"/>
                </a:spcBef>
                <a:spcAft>
                  <a:spcPts val="900"/>
                </a:spcAft>
                <a:buFontTx/>
                <a:buChar char="–"/>
                <a:defRPr sz="1200" b="0"/>
              </a:lvl5pPr>
              <a:lvl6pPr marL="1081088" indent="0">
                <a:buFont typeface="Wingdings" pitchFamily="2" charset="2"/>
                <a:buNone/>
                <a:tabLst/>
                <a:defRPr sz="1600"/>
              </a:lvl6pPr>
            </a:lstStyle>
            <a:p>
              <a:r>
                <a:rPr lang="en-GB" b="1" dirty="0">
                  <a:solidFill>
                    <a:schemeClr val="tx1"/>
                  </a:solidFill>
                  <a:highlight>
                    <a:srgbClr val="FFFF00"/>
                  </a:highlight>
                </a:rPr>
                <a:t>Macro-Environment</a:t>
              </a:r>
            </a:p>
          </p:txBody>
        </p:sp>
        <p:sp>
          <p:nvSpPr>
            <p:cNvPr id="75" name="Oval 7">
              <a:extLst>
                <a:ext uri="{FF2B5EF4-FFF2-40B4-BE49-F238E27FC236}">
                  <a16:creationId xmlns:a16="http://schemas.microsoft.com/office/drawing/2014/main" xmlns="" id="{3DE78889-CCA9-48E2-837A-4BD22A427863}"/>
                </a:ext>
              </a:extLst>
            </p:cNvPr>
            <p:cNvSpPr>
              <a:spLocks noChangeArrowheads="1"/>
            </p:cNvSpPr>
            <p:nvPr>
              <p:custDataLst>
                <p:tags r:id="rId1"/>
              </p:custDataLst>
            </p:nvPr>
          </p:nvSpPr>
          <p:spPr bwMode="auto">
            <a:xfrm>
              <a:off x="5520305" y="2618307"/>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a:solidFill>
                    <a:schemeClr val="bg1"/>
                  </a:solidFill>
                </a:rPr>
                <a:t>Customer</a:t>
              </a:r>
            </a:p>
          </p:txBody>
        </p:sp>
        <p:sp>
          <p:nvSpPr>
            <p:cNvPr id="76" name="Oval 7">
              <a:extLst>
                <a:ext uri="{FF2B5EF4-FFF2-40B4-BE49-F238E27FC236}">
                  <a16:creationId xmlns:a16="http://schemas.microsoft.com/office/drawing/2014/main" xmlns="" id="{6912E464-D505-41F6-8324-1E5626713A3A}"/>
                </a:ext>
              </a:extLst>
            </p:cNvPr>
            <p:cNvSpPr>
              <a:spLocks noChangeArrowheads="1"/>
            </p:cNvSpPr>
            <p:nvPr>
              <p:custDataLst>
                <p:tags r:id="rId2"/>
              </p:custDataLst>
            </p:nvPr>
          </p:nvSpPr>
          <p:spPr bwMode="auto">
            <a:xfrm>
              <a:off x="4167100" y="3493802"/>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a:solidFill>
                    <a:schemeClr val="bg1"/>
                  </a:solidFill>
                </a:rPr>
                <a:t>Competitors</a:t>
              </a:r>
            </a:p>
          </p:txBody>
        </p:sp>
        <p:sp>
          <p:nvSpPr>
            <p:cNvPr id="77" name="Oval 7">
              <a:extLst>
                <a:ext uri="{FF2B5EF4-FFF2-40B4-BE49-F238E27FC236}">
                  <a16:creationId xmlns:a16="http://schemas.microsoft.com/office/drawing/2014/main" xmlns="" id="{AD4E4DB6-5ED1-4EDD-B81C-5C8DD9AFDA60}"/>
                </a:ext>
              </a:extLst>
            </p:cNvPr>
            <p:cNvSpPr>
              <a:spLocks noChangeArrowheads="1"/>
            </p:cNvSpPr>
            <p:nvPr>
              <p:custDataLst>
                <p:tags r:id="rId3"/>
              </p:custDataLst>
            </p:nvPr>
          </p:nvSpPr>
          <p:spPr bwMode="auto">
            <a:xfrm>
              <a:off x="5520305" y="4530616"/>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a:solidFill>
                    <a:schemeClr val="bg1"/>
                  </a:solidFill>
                </a:rPr>
                <a:t>Substitutes</a:t>
              </a:r>
            </a:p>
          </p:txBody>
        </p:sp>
        <p:sp>
          <p:nvSpPr>
            <p:cNvPr id="78" name="Oval 7">
              <a:extLst>
                <a:ext uri="{FF2B5EF4-FFF2-40B4-BE49-F238E27FC236}">
                  <a16:creationId xmlns:a16="http://schemas.microsoft.com/office/drawing/2014/main" xmlns="" id="{0ACFBFE9-916E-4EBE-9FC9-6C37447075D2}"/>
                </a:ext>
              </a:extLst>
            </p:cNvPr>
            <p:cNvSpPr>
              <a:spLocks noChangeArrowheads="1"/>
            </p:cNvSpPr>
            <p:nvPr>
              <p:custDataLst>
                <p:tags r:id="rId4"/>
              </p:custDataLst>
            </p:nvPr>
          </p:nvSpPr>
          <p:spPr bwMode="auto">
            <a:xfrm>
              <a:off x="6868183" y="3493802"/>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a:solidFill>
                    <a:schemeClr val="bg1"/>
                  </a:solidFill>
                </a:rPr>
                <a:t>Supplier</a:t>
              </a:r>
            </a:p>
          </p:txBody>
        </p:sp>
        <p:sp>
          <p:nvSpPr>
            <p:cNvPr id="79" name="Freeform 5">
              <a:extLst>
                <a:ext uri="{FF2B5EF4-FFF2-40B4-BE49-F238E27FC236}">
                  <a16:creationId xmlns:a16="http://schemas.microsoft.com/office/drawing/2014/main" xmlns="" id="{382B2653-190A-4664-8003-64092FEBB302}"/>
                </a:ext>
              </a:extLst>
            </p:cNvPr>
            <p:cNvSpPr>
              <a:spLocks noChangeAspect="1" noEditPoints="1"/>
            </p:cNvSpPr>
            <p:nvPr/>
          </p:nvSpPr>
          <p:spPr bwMode="auto">
            <a:xfrm>
              <a:off x="7223708" y="3932230"/>
              <a:ext cx="511812" cy="232893"/>
            </a:xfrm>
            <a:custGeom>
              <a:avLst/>
              <a:gdLst>
                <a:gd name="T0" fmla="*/ 1192 w 1489"/>
                <a:gd name="T1" fmla="*/ 588 h 676"/>
                <a:gd name="T2" fmla="*/ 1279 w 1489"/>
                <a:gd name="T3" fmla="*/ 676 h 676"/>
                <a:gd name="T4" fmla="*/ 1367 w 1489"/>
                <a:gd name="T5" fmla="*/ 588 h 676"/>
                <a:gd name="T6" fmla="*/ 1279 w 1489"/>
                <a:gd name="T7" fmla="*/ 501 h 676"/>
                <a:gd name="T8" fmla="*/ 1192 w 1489"/>
                <a:gd name="T9" fmla="*/ 588 h 676"/>
                <a:gd name="T10" fmla="*/ 957 w 1489"/>
                <a:gd name="T11" fmla="*/ 588 h 676"/>
                <a:gd name="T12" fmla="*/ 1045 w 1489"/>
                <a:gd name="T13" fmla="*/ 676 h 676"/>
                <a:gd name="T14" fmla="*/ 1133 w 1489"/>
                <a:gd name="T15" fmla="*/ 588 h 676"/>
                <a:gd name="T16" fmla="*/ 1045 w 1489"/>
                <a:gd name="T17" fmla="*/ 501 h 676"/>
                <a:gd name="T18" fmla="*/ 957 w 1489"/>
                <a:gd name="T19" fmla="*/ 588 h 676"/>
                <a:gd name="T20" fmla="*/ 341 w 1489"/>
                <a:gd name="T21" fmla="*/ 588 h 676"/>
                <a:gd name="T22" fmla="*/ 429 w 1489"/>
                <a:gd name="T23" fmla="*/ 676 h 676"/>
                <a:gd name="T24" fmla="*/ 517 w 1489"/>
                <a:gd name="T25" fmla="*/ 588 h 676"/>
                <a:gd name="T26" fmla="*/ 429 w 1489"/>
                <a:gd name="T27" fmla="*/ 501 h 676"/>
                <a:gd name="T28" fmla="*/ 341 w 1489"/>
                <a:gd name="T29" fmla="*/ 588 h 676"/>
                <a:gd name="T30" fmla="*/ 107 w 1489"/>
                <a:gd name="T31" fmla="*/ 588 h 676"/>
                <a:gd name="T32" fmla="*/ 195 w 1489"/>
                <a:gd name="T33" fmla="*/ 676 h 676"/>
                <a:gd name="T34" fmla="*/ 282 w 1489"/>
                <a:gd name="T35" fmla="*/ 588 h 676"/>
                <a:gd name="T36" fmla="*/ 195 w 1489"/>
                <a:gd name="T37" fmla="*/ 501 h 676"/>
                <a:gd name="T38" fmla="*/ 107 w 1489"/>
                <a:gd name="T39" fmla="*/ 588 h 676"/>
                <a:gd name="T40" fmla="*/ 0 w 1489"/>
                <a:gd name="T41" fmla="*/ 432 h 676"/>
                <a:gd name="T42" fmla="*/ 1130 w 1489"/>
                <a:gd name="T43" fmla="*/ 432 h 676"/>
                <a:gd name="T44" fmla="*/ 1130 w 1489"/>
                <a:gd name="T45" fmla="*/ 0 h 676"/>
                <a:gd name="T46" fmla="*/ 0 w 1489"/>
                <a:gd name="T47" fmla="*/ 0 h 676"/>
                <a:gd name="T48" fmla="*/ 0 w 1489"/>
                <a:gd name="T49" fmla="*/ 432 h 676"/>
                <a:gd name="T50" fmla="*/ 1489 w 1489"/>
                <a:gd name="T51" fmla="*/ 535 h 676"/>
                <a:gd name="T52" fmla="*/ 1489 w 1489"/>
                <a:gd name="T53" fmla="*/ 247 h 676"/>
                <a:gd name="T54" fmla="*/ 1441 w 1489"/>
                <a:gd name="T55" fmla="*/ 197 h 676"/>
                <a:gd name="T56" fmla="*/ 1153 w 1489"/>
                <a:gd name="T57" fmla="*/ 125 h 676"/>
                <a:gd name="T58" fmla="*/ 1153 w 1489"/>
                <a:gd name="T59" fmla="*/ 454 h 676"/>
                <a:gd name="T60" fmla="*/ 49 w 1489"/>
                <a:gd name="T61" fmla="*/ 454 h 676"/>
                <a:gd name="T62" fmla="*/ 49 w 1489"/>
                <a:gd name="T63" fmla="*/ 579 h 676"/>
                <a:gd name="T64" fmla="*/ 89 w 1489"/>
                <a:gd name="T65" fmla="*/ 579 h 676"/>
                <a:gd name="T66" fmla="*/ 195 w 1489"/>
                <a:gd name="T67" fmla="*/ 482 h 676"/>
                <a:gd name="T68" fmla="*/ 300 w 1489"/>
                <a:gd name="T69" fmla="*/ 579 h 676"/>
                <a:gd name="T70" fmla="*/ 324 w 1489"/>
                <a:gd name="T71" fmla="*/ 579 h 676"/>
                <a:gd name="T72" fmla="*/ 429 w 1489"/>
                <a:gd name="T73" fmla="*/ 482 h 676"/>
                <a:gd name="T74" fmla="*/ 534 w 1489"/>
                <a:gd name="T75" fmla="*/ 579 h 676"/>
                <a:gd name="T76" fmla="*/ 940 w 1489"/>
                <a:gd name="T77" fmla="*/ 579 h 676"/>
                <a:gd name="T78" fmla="*/ 1045 w 1489"/>
                <a:gd name="T79" fmla="*/ 482 h 676"/>
                <a:gd name="T80" fmla="*/ 1151 w 1489"/>
                <a:gd name="T81" fmla="*/ 579 h 676"/>
                <a:gd name="T82" fmla="*/ 1174 w 1489"/>
                <a:gd name="T83" fmla="*/ 579 h 676"/>
                <a:gd name="T84" fmla="*/ 1279 w 1489"/>
                <a:gd name="T85" fmla="*/ 482 h 676"/>
                <a:gd name="T86" fmla="*/ 1385 w 1489"/>
                <a:gd name="T87" fmla="*/ 579 h 676"/>
                <a:gd name="T88" fmla="*/ 1441 w 1489"/>
                <a:gd name="T89" fmla="*/ 579 h 676"/>
                <a:gd name="T90" fmla="*/ 1489 w 1489"/>
                <a:gd name="T91" fmla="*/ 535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9" h="676">
                  <a:moveTo>
                    <a:pt x="1192" y="588"/>
                  </a:moveTo>
                  <a:cubicBezTo>
                    <a:pt x="1192" y="637"/>
                    <a:pt x="1231" y="676"/>
                    <a:pt x="1279" y="676"/>
                  </a:cubicBezTo>
                  <a:cubicBezTo>
                    <a:pt x="1328" y="676"/>
                    <a:pt x="1367" y="637"/>
                    <a:pt x="1367" y="588"/>
                  </a:cubicBezTo>
                  <a:cubicBezTo>
                    <a:pt x="1367" y="540"/>
                    <a:pt x="1328" y="501"/>
                    <a:pt x="1279" y="501"/>
                  </a:cubicBezTo>
                  <a:cubicBezTo>
                    <a:pt x="1231" y="501"/>
                    <a:pt x="1192" y="540"/>
                    <a:pt x="1192" y="588"/>
                  </a:cubicBezTo>
                  <a:moveTo>
                    <a:pt x="957" y="588"/>
                  </a:moveTo>
                  <a:cubicBezTo>
                    <a:pt x="957" y="637"/>
                    <a:pt x="997" y="676"/>
                    <a:pt x="1045" y="676"/>
                  </a:cubicBezTo>
                  <a:cubicBezTo>
                    <a:pt x="1093" y="676"/>
                    <a:pt x="1133" y="637"/>
                    <a:pt x="1133" y="588"/>
                  </a:cubicBezTo>
                  <a:cubicBezTo>
                    <a:pt x="1133" y="540"/>
                    <a:pt x="1093" y="501"/>
                    <a:pt x="1045" y="501"/>
                  </a:cubicBezTo>
                  <a:cubicBezTo>
                    <a:pt x="997" y="501"/>
                    <a:pt x="957" y="540"/>
                    <a:pt x="957" y="588"/>
                  </a:cubicBezTo>
                  <a:moveTo>
                    <a:pt x="341" y="588"/>
                  </a:moveTo>
                  <a:cubicBezTo>
                    <a:pt x="341" y="637"/>
                    <a:pt x="381" y="676"/>
                    <a:pt x="429" y="676"/>
                  </a:cubicBezTo>
                  <a:cubicBezTo>
                    <a:pt x="477" y="676"/>
                    <a:pt x="517" y="637"/>
                    <a:pt x="517" y="588"/>
                  </a:cubicBezTo>
                  <a:cubicBezTo>
                    <a:pt x="517" y="540"/>
                    <a:pt x="477" y="501"/>
                    <a:pt x="429" y="501"/>
                  </a:cubicBezTo>
                  <a:cubicBezTo>
                    <a:pt x="381" y="501"/>
                    <a:pt x="341" y="540"/>
                    <a:pt x="341" y="588"/>
                  </a:cubicBezTo>
                  <a:moveTo>
                    <a:pt x="107" y="588"/>
                  </a:moveTo>
                  <a:cubicBezTo>
                    <a:pt x="107" y="637"/>
                    <a:pt x="146" y="676"/>
                    <a:pt x="195" y="676"/>
                  </a:cubicBezTo>
                  <a:cubicBezTo>
                    <a:pt x="243" y="676"/>
                    <a:pt x="282" y="637"/>
                    <a:pt x="282" y="588"/>
                  </a:cubicBezTo>
                  <a:cubicBezTo>
                    <a:pt x="282" y="540"/>
                    <a:pt x="243" y="501"/>
                    <a:pt x="195" y="501"/>
                  </a:cubicBezTo>
                  <a:cubicBezTo>
                    <a:pt x="146" y="501"/>
                    <a:pt x="107" y="540"/>
                    <a:pt x="107" y="588"/>
                  </a:cubicBezTo>
                  <a:moveTo>
                    <a:pt x="0" y="432"/>
                  </a:moveTo>
                  <a:cubicBezTo>
                    <a:pt x="1130" y="432"/>
                    <a:pt x="1130" y="432"/>
                    <a:pt x="1130" y="432"/>
                  </a:cubicBezTo>
                  <a:cubicBezTo>
                    <a:pt x="1130" y="0"/>
                    <a:pt x="1130" y="0"/>
                    <a:pt x="1130" y="0"/>
                  </a:cubicBezTo>
                  <a:cubicBezTo>
                    <a:pt x="0" y="0"/>
                    <a:pt x="0" y="0"/>
                    <a:pt x="0" y="0"/>
                  </a:cubicBezTo>
                  <a:lnTo>
                    <a:pt x="0" y="432"/>
                  </a:lnTo>
                  <a:close/>
                  <a:moveTo>
                    <a:pt x="1489" y="535"/>
                  </a:moveTo>
                  <a:cubicBezTo>
                    <a:pt x="1489" y="247"/>
                    <a:pt x="1489" y="247"/>
                    <a:pt x="1489" y="247"/>
                  </a:cubicBezTo>
                  <a:cubicBezTo>
                    <a:pt x="1489" y="247"/>
                    <a:pt x="1489" y="203"/>
                    <a:pt x="1441" y="197"/>
                  </a:cubicBezTo>
                  <a:cubicBezTo>
                    <a:pt x="1153" y="125"/>
                    <a:pt x="1153" y="125"/>
                    <a:pt x="1153" y="125"/>
                  </a:cubicBezTo>
                  <a:cubicBezTo>
                    <a:pt x="1153" y="454"/>
                    <a:pt x="1153" y="454"/>
                    <a:pt x="1153" y="454"/>
                  </a:cubicBezTo>
                  <a:cubicBezTo>
                    <a:pt x="49" y="454"/>
                    <a:pt x="49" y="454"/>
                    <a:pt x="49" y="454"/>
                  </a:cubicBezTo>
                  <a:cubicBezTo>
                    <a:pt x="49" y="579"/>
                    <a:pt x="49" y="579"/>
                    <a:pt x="49" y="579"/>
                  </a:cubicBezTo>
                  <a:cubicBezTo>
                    <a:pt x="89" y="579"/>
                    <a:pt x="89" y="579"/>
                    <a:pt x="89" y="579"/>
                  </a:cubicBezTo>
                  <a:cubicBezTo>
                    <a:pt x="94" y="525"/>
                    <a:pt x="139" y="482"/>
                    <a:pt x="195" y="482"/>
                  </a:cubicBezTo>
                  <a:cubicBezTo>
                    <a:pt x="250" y="482"/>
                    <a:pt x="295" y="525"/>
                    <a:pt x="300" y="579"/>
                  </a:cubicBezTo>
                  <a:cubicBezTo>
                    <a:pt x="324" y="579"/>
                    <a:pt x="324" y="579"/>
                    <a:pt x="324" y="579"/>
                  </a:cubicBezTo>
                  <a:cubicBezTo>
                    <a:pt x="328" y="525"/>
                    <a:pt x="374" y="482"/>
                    <a:pt x="429" y="482"/>
                  </a:cubicBezTo>
                  <a:cubicBezTo>
                    <a:pt x="484" y="482"/>
                    <a:pt x="530" y="525"/>
                    <a:pt x="534" y="579"/>
                  </a:cubicBezTo>
                  <a:cubicBezTo>
                    <a:pt x="940" y="579"/>
                    <a:pt x="940" y="579"/>
                    <a:pt x="940" y="579"/>
                  </a:cubicBezTo>
                  <a:cubicBezTo>
                    <a:pt x="944" y="525"/>
                    <a:pt x="990" y="482"/>
                    <a:pt x="1045" y="482"/>
                  </a:cubicBezTo>
                  <a:cubicBezTo>
                    <a:pt x="1100" y="482"/>
                    <a:pt x="1146" y="525"/>
                    <a:pt x="1151" y="579"/>
                  </a:cubicBezTo>
                  <a:cubicBezTo>
                    <a:pt x="1174" y="579"/>
                    <a:pt x="1174" y="579"/>
                    <a:pt x="1174" y="579"/>
                  </a:cubicBezTo>
                  <a:cubicBezTo>
                    <a:pt x="1179" y="525"/>
                    <a:pt x="1224" y="482"/>
                    <a:pt x="1279" y="482"/>
                  </a:cubicBezTo>
                  <a:cubicBezTo>
                    <a:pt x="1335" y="482"/>
                    <a:pt x="1380" y="525"/>
                    <a:pt x="1385" y="579"/>
                  </a:cubicBezTo>
                  <a:cubicBezTo>
                    <a:pt x="1441" y="579"/>
                    <a:pt x="1441" y="579"/>
                    <a:pt x="1441" y="579"/>
                  </a:cubicBezTo>
                  <a:cubicBezTo>
                    <a:pt x="1441" y="579"/>
                    <a:pt x="1489" y="579"/>
                    <a:pt x="1489" y="5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0" name="Freeform 5">
              <a:extLst>
                <a:ext uri="{FF2B5EF4-FFF2-40B4-BE49-F238E27FC236}">
                  <a16:creationId xmlns:a16="http://schemas.microsoft.com/office/drawing/2014/main" xmlns="" id="{94D758C5-5F1D-4FD5-A619-9BF1B621C1C2}"/>
                </a:ext>
              </a:extLst>
            </p:cNvPr>
            <p:cNvSpPr>
              <a:spLocks noChangeAspect="1" noEditPoints="1"/>
            </p:cNvSpPr>
            <p:nvPr/>
          </p:nvSpPr>
          <p:spPr bwMode="auto">
            <a:xfrm>
              <a:off x="4511143" y="3840432"/>
              <a:ext cx="406764" cy="346534"/>
            </a:xfrm>
            <a:custGeom>
              <a:avLst/>
              <a:gdLst>
                <a:gd name="T0" fmla="*/ 2788 w 3782"/>
                <a:gd name="T1" fmla="*/ 2794 h 3222"/>
                <a:gd name="T2" fmla="*/ 2817 w 3782"/>
                <a:gd name="T3" fmla="*/ 3222 h 3222"/>
                <a:gd name="T4" fmla="*/ 2817 w 3782"/>
                <a:gd name="T5" fmla="*/ 2794 h 3222"/>
                <a:gd name="T6" fmla="*/ 2175 w 3782"/>
                <a:gd name="T7" fmla="*/ 3222 h 3222"/>
                <a:gd name="T8" fmla="*/ 3037 w 3782"/>
                <a:gd name="T9" fmla="*/ 2756 h 3222"/>
                <a:gd name="T10" fmla="*/ 3408 w 3782"/>
                <a:gd name="T11" fmla="*/ 2093 h 3222"/>
                <a:gd name="T12" fmla="*/ 2132 w 3782"/>
                <a:gd name="T13" fmla="*/ 3222 h 3222"/>
                <a:gd name="T14" fmla="*/ 0 w 3782"/>
                <a:gd name="T15" fmla="*/ 3222 h 3222"/>
                <a:gd name="T16" fmla="*/ 2130 w 3782"/>
                <a:gd name="T17" fmla="*/ 1823 h 3222"/>
                <a:gd name="T18" fmla="*/ 2175 w 3782"/>
                <a:gd name="T19" fmla="*/ 2055 h 3222"/>
                <a:gd name="T20" fmla="*/ 2175 w 3782"/>
                <a:gd name="T21" fmla="*/ 1690 h 3222"/>
                <a:gd name="T22" fmla="*/ 2779 w 3782"/>
                <a:gd name="T23" fmla="*/ 2055 h 3222"/>
                <a:gd name="T24" fmla="*/ 2495 w 3782"/>
                <a:gd name="T25" fmla="*/ 2055 h 3222"/>
                <a:gd name="T26" fmla="*/ 3117 w 3782"/>
                <a:gd name="T27" fmla="*/ 1690 h 3222"/>
                <a:gd name="T28" fmla="*/ 3150 w 3782"/>
                <a:gd name="T29" fmla="*/ 2055 h 3222"/>
                <a:gd name="T30" fmla="*/ 3150 w 3782"/>
                <a:gd name="T31" fmla="*/ 1690 h 3222"/>
                <a:gd name="T32" fmla="*/ 2461 w 3782"/>
                <a:gd name="T33" fmla="*/ 1652 h 3222"/>
                <a:gd name="T34" fmla="*/ 2175 w 3782"/>
                <a:gd name="T35" fmla="*/ 1652 h 3222"/>
                <a:gd name="T36" fmla="*/ 2779 w 3782"/>
                <a:gd name="T37" fmla="*/ 1257 h 3222"/>
                <a:gd name="T38" fmla="*/ 2809 w 3782"/>
                <a:gd name="T39" fmla="*/ 1652 h 3222"/>
                <a:gd name="T40" fmla="*/ 2809 w 3782"/>
                <a:gd name="T41" fmla="*/ 1257 h 3222"/>
                <a:gd name="T42" fmla="*/ 3408 w 3782"/>
                <a:gd name="T43" fmla="*/ 1652 h 3222"/>
                <a:gd name="T44" fmla="*/ 3150 w 3782"/>
                <a:gd name="T45" fmla="*/ 1652 h 3222"/>
                <a:gd name="T46" fmla="*/ 2461 w 3782"/>
                <a:gd name="T47" fmla="*/ 840 h 3222"/>
                <a:gd name="T48" fmla="*/ 2495 w 3782"/>
                <a:gd name="T49" fmla="*/ 1226 h 3222"/>
                <a:gd name="T50" fmla="*/ 2495 w 3782"/>
                <a:gd name="T51" fmla="*/ 840 h 3222"/>
                <a:gd name="T52" fmla="*/ 2809 w 3782"/>
                <a:gd name="T53" fmla="*/ 1226 h 3222"/>
                <a:gd name="T54" fmla="*/ 2809 w 3782"/>
                <a:gd name="T55" fmla="*/ 840 h 3222"/>
                <a:gd name="T56" fmla="*/ 3408 w 3782"/>
                <a:gd name="T57" fmla="*/ 840 h 3222"/>
                <a:gd name="T58" fmla="*/ 2175 w 3782"/>
                <a:gd name="T59" fmla="*/ 809 h 3222"/>
                <a:gd name="T60" fmla="*/ 2175 w 3782"/>
                <a:gd name="T61" fmla="*/ 445 h 3222"/>
                <a:gd name="T62" fmla="*/ 2779 w 3782"/>
                <a:gd name="T63" fmla="*/ 809 h 3222"/>
                <a:gd name="T64" fmla="*/ 2495 w 3782"/>
                <a:gd name="T65" fmla="*/ 809 h 3222"/>
                <a:gd name="T66" fmla="*/ 3117 w 3782"/>
                <a:gd name="T67" fmla="*/ 809 h 3222"/>
                <a:gd name="T68" fmla="*/ 3150 w 3782"/>
                <a:gd name="T69" fmla="*/ 809 h 3222"/>
                <a:gd name="T70" fmla="*/ 3150 w 3782"/>
                <a:gd name="T71" fmla="*/ 445 h 3222"/>
                <a:gd name="T72" fmla="*/ 3441 w 3782"/>
                <a:gd name="T73" fmla="*/ 2519 h 3222"/>
                <a:gd name="T74" fmla="*/ 3782 w 3782"/>
                <a:gd name="T75" fmla="*/ 400 h 3222"/>
                <a:gd name="T76" fmla="*/ 2175 w 3782"/>
                <a:gd name="T77" fmla="*/ 165 h 3222"/>
                <a:gd name="T78" fmla="*/ 2495 w 3782"/>
                <a:gd name="T79" fmla="*/ 412 h 3222"/>
                <a:gd name="T80" fmla="*/ 3117 w 3782"/>
                <a:gd name="T81" fmla="*/ 412 h 3222"/>
                <a:gd name="T82" fmla="*/ 3408 w 3782"/>
                <a:gd name="T83" fmla="*/ 165 h 3222"/>
                <a:gd name="T84" fmla="*/ 2374 w 3782"/>
                <a:gd name="T85" fmla="*/ 130 h 3222"/>
                <a:gd name="T86" fmla="*/ 3456 w 3782"/>
                <a:gd name="T87" fmla="*/ 154 h 3222"/>
                <a:gd name="T88" fmla="*/ 3456 w 3782"/>
                <a:gd name="T89" fmla="*/ 2 h 3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82" h="3222">
                  <a:moveTo>
                    <a:pt x="2601" y="3222"/>
                  </a:moveTo>
                  <a:lnTo>
                    <a:pt x="2788" y="3222"/>
                  </a:lnTo>
                  <a:lnTo>
                    <a:pt x="2788" y="2794"/>
                  </a:lnTo>
                  <a:lnTo>
                    <a:pt x="2601" y="2794"/>
                  </a:lnTo>
                  <a:lnTo>
                    <a:pt x="2601" y="3222"/>
                  </a:lnTo>
                  <a:close/>
                  <a:moveTo>
                    <a:pt x="2817" y="3222"/>
                  </a:moveTo>
                  <a:lnTo>
                    <a:pt x="3006" y="3222"/>
                  </a:lnTo>
                  <a:lnTo>
                    <a:pt x="3006" y="2794"/>
                  </a:lnTo>
                  <a:lnTo>
                    <a:pt x="2817" y="2794"/>
                  </a:lnTo>
                  <a:lnTo>
                    <a:pt x="2817" y="3222"/>
                  </a:lnTo>
                  <a:close/>
                  <a:moveTo>
                    <a:pt x="2175" y="2093"/>
                  </a:moveTo>
                  <a:lnTo>
                    <a:pt x="2175" y="3222"/>
                  </a:lnTo>
                  <a:lnTo>
                    <a:pt x="2568" y="3222"/>
                  </a:lnTo>
                  <a:lnTo>
                    <a:pt x="2568" y="2756"/>
                  </a:lnTo>
                  <a:lnTo>
                    <a:pt x="3037" y="2756"/>
                  </a:lnTo>
                  <a:lnTo>
                    <a:pt x="3037" y="3222"/>
                  </a:lnTo>
                  <a:lnTo>
                    <a:pt x="3408" y="3222"/>
                  </a:lnTo>
                  <a:lnTo>
                    <a:pt x="3408" y="2093"/>
                  </a:lnTo>
                  <a:lnTo>
                    <a:pt x="2175" y="2093"/>
                  </a:lnTo>
                  <a:close/>
                  <a:moveTo>
                    <a:pt x="0" y="3222"/>
                  </a:moveTo>
                  <a:lnTo>
                    <a:pt x="2132" y="3222"/>
                  </a:lnTo>
                  <a:lnTo>
                    <a:pt x="2132" y="1946"/>
                  </a:lnTo>
                  <a:lnTo>
                    <a:pt x="0" y="1946"/>
                  </a:lnTo>
                  <a:lnTo>
                    <a:pt x="0" y="3222"/>
                  </a:lnTo>
                  <a:close/>
                  <a:moveTo>
                    <a:pt x="291" y="1903"/>
                  </a:moveTo>
                  <a:lnTo>
                    <a:pt x="2130" y="1903"/>
                  </a:lnTo>
                  <a:lnTo>
                    <a:pt x="2130" y="1823"/>
                  </a:lnTo>
                  <a:lnTo>
                    <a:pt x="291" y="1823"/>
                  </a:lnTo>
                  <a:lnTo>
                    <a:pt x="291" y="1903"/>
                  </a:lnTo>
                  <a:close/>
                  <a:moveTo>
                    <a:pt x="2175" y="2055"/>
                  </a:moveTo>
                  <a:lnTo>
                    <a:pt x="2461" y="2055"/>
                  </a:lnTo>
                  <a:lnTo>
                    <a:pt x="2461" y="1690"/>
                  </a:lnTo>
                  <a:lnTo>
                    <a:pt x="2175" y="1690"/>
                  </a:lnTo>
                  <a:lnTo>
                    <a:pt x="2175" y="2055"/>
                  </a:lnTo>
                  <a:close/>
                  <a:moveTo>
                    <a:pt x="2495" y="2055"/>
                  </a:moveTo>
                  <a:lnTo>
                    <a:pt x="2779" y="2055"/>
                  </a:lnTo>
                  <a:lnTo>
                    <a:pt x="2779" y="1690"/>
                  </a:lnTo>
                  <a:lnTo>
                    <a:pt x="2495" y="1690"/>
                  </a:lnTo>
                  <a:lnTo>
                    <a:pt x="2495" y="2055"/>
                  </a:lnTo>
                  <a:close/>
                  <a:moveTo>
                    <a:pt x="2809" y="2055"/>
                  </a:moveTo>
                  <a:lnTo>
                    <a:pt x="3117" y="2055"/>
                  </a:lnTo>
                  <a:lnTo>
                    <a:pt x="3117" y="1690"/>
                  </a:lnTo>
                  <a:lnTo>
                    <a:pt x="2809" y="1690"/>
                  </a:lnTo>
                  <a:lnTo>
                    <a:pt x="2809" y="2055"/>
                  </a:lnTo>
                  <a:close/>
                  <a:moveTo>
                    <a:pt x="3150" y="2055"/>
                  </a:moveTo>
                  <a:lnTo>
                    <a:pt x="3408" y="2055"/>
                  </a:lnTo>
                  <a:lnTo>
                    <a:pt x="3408" y="1690"/>
                  </a:lnTo>
                  <a:lnTo>
                    <a:pt x="3150" y="1690"/>
                  </a:lnTo>
                  <a:lnTo>
                    <a:pt x="3150" y="2055"/>
                  </a:lnTo>
                  <a:close/>
                  <a:moveTo>
                    <a:pt x="2175" y="1652"/>
                  </a:moveTo>
                  <a:lnTo>
                    <a:pt x="2461" y="1652"/>
                  </a:lnTo>
                  <a:lnTo>
                    <a:pt x="2461" y="1257"/>
                  </a:lnTo>
                  <a:lnTo>
                    <a:pt x="2175" y="1257"/>
                  </a:lnTo>
                  <a:lnTo>
                    <a:pt x="2175" y="1652"/>
                  </a:lnTo>
                  <a:close/>
                  <a:moveTo>
                    <a:pt x="2495" y="1652"/>
                  </a:moveTo>
                  <a:lnTo>
                    <a:pt x="2779" y="1652"/>
                  </a:lnTo>
                  <a:lnTo>
                    <a:pt x="2779" y="1257"/>
                  </a:lnTo>
                  <a:lnTo>
                    <a:pt x="2495" y="1257"/>
                  </a:lnTo>
                  <a:lnTo>
                    <a:pt x="2495" y="1652"/>
                  </a:lnTo>
                  <a:close/>
                  <a:moveTo>
                    <a:pt x="2809" y="1652"/>
                  </a:moveTo>
                  <a:lnTo>
                    <a:pt x="3117" y="1652"/>
                  </a:lnTo>
                  <a:lnTo>
                    <a:pt x="3117" y="1257"/>
                  </a:lnTo>
                  <a:lnTo>
                    <a:pt x="2809" y="1257"/>
                  </a:lnTo>
                  <a:lnTo>
                    <a:pt x="2809" y="1652"/>
                  </a:lnTo>
                  <a:close/>
                  <a:moveTo>
                    <a:pt x="3150" y="1652"/>
                  </a:moveTo>
                  <a:lnTo>
                    <a:pt x="3408" y="1652"/>
                  </a:lnTo>
                  <a:lnTo>
                    <a:pt x="3408" y="1257"/>
                  </a:lnTo>
                  <a:lnTo>
                    <a:pt x="3150" y="1257"/>
                  </a:lnTo>
                  <a:lnTo>
                    <a:pt x="3150" y="1652"/>
                  </a:lnTo>
                  <a:close/>
                  <a:moveTo>
                    <a:pt x="2175" y="1226"/>
                  </a:moveTo>
                  <a:lnTo>
                    <a:pt x="2461" y="1226"/>
                  </a:lnTo>
                  <a:lnTo>
                    <a:pt x="2461" y="840"/>
                  </a:lnTo>
                  <a:lnTo>
                    <a:pt x="2175" y="840"/>
                  </a:lnTo>
                  <a:lnTo>
                    <a:pt x="2175" y="1226"/>
                  </a:lnTo>
                  <a:close/>
                  <a:moveTo>
                    <a:pt x="2495" y="1226"/>
                  </a:moveTo>
                  <a:lnTo>
                    <a:pt x="2779" y="1226"/>
                  </a:lnTo>
                  <a:lnTo>
                    <a:pt x="2779" y="840"/>
                  </a:lnTo>
                  <a:lnTo>
                    <a:pt x="2495" y="840"/>
                  </a:lnTo>
                  <a:lnTo>
                    <a:pt x="2495" y="1226"/>
                  </a:lnTo>
                  <a:close/>
                  <a:moveTo>
                    <a:pt x="2809" y="840"/>
                  </a:moveTo>
                  <a:lnTo>
                    <a:pt x="2809" y="1226"/>
                  </a:lnTo>
                  <a:lnTo>
                    <a:pt x="3117" y="1226"/>
                  </a:lnTo>
                  <a:lnTo>
                    <a:pt x="3117" y="840"/>
                  </a:lnTo>
                  <a:lnTo>
                    <a:pt x="2809" y="840"/>
                  </a:lnTo>
                  <a:close/>
                  <a:moveTo>
                    <a:pt x="3150" y="1226"/>
                  </a:moveTo>
                  <a:lnTo>
                    <a:pt x="3408" y="1226"/>
                  </a:lnTo>
                  <a:lnTo>
                    <a:pt x="3408" y="840"/>
                  </a:lnTo>
                  <a:lnTo>
                    <a:pt x="3150" y="840"/>
                  </a:lnTo>
                  <a:lnTo>
                    <a:pt x="3150" y="1226"/>
                  </a:lnTo>
                  <a:close/>
                  <a:moveTo>
                    <a:pt x="2175" y="809"/>
                  </a:moveTo>
                  <a:lnTo>
                    <a:pt x="2461" y="809"/>
                  </a:lnTo>
                  <a:lnTo>
                    <a:pt x="2461" y="445"/>
                  </a:lnTo>
                  <a:lnTo>
                    <a:pt x="2175" y="445"/>
                  </a:lnTo>
                  <a:lnTo>
                    <a:pt x="2175" y="809"/>
                  </a:lnTo>
                  <a:close/>
                  <a:moveTo>
                    <a:pt x="2495" y="809"/>
                  </a:moveTo>
                  <a:lnTo>
                    <a:pt x="2779" y="809"/>
                  </a:lnTo>
                  <a:lnTo>
                    <a:pt x="2779" y="445"/>
                  </a:lnTo>
                  <a:lnTo>
                    <a:pt x="2495" y="445"/>
                  </a:lnTo>
                  <a:lnTo>
                    <a:pt x="2495" y="809"/>
                  </a:lnTo>
                  <a:close/>
                  <a:moveTo>
                    <a:pt x="2809" y="445"/>
                  </a:moveTo>
                  <a:lnTo>
                    <a:pt x="2809" y="809"/>
                  </a:lnTo>
                  <a:lnTo>
                    <a:pt x="3117" y="809"/>
                  </a:lnTo>
                  <a:lnTo>
                    <a:pt x="3117" y="445"/>
                  </a:lnTo>
                  <a:lnTo>
                    <a:pt x="2809" y="445"/>
                  </a:lnTo>
                  <a:close/>
                  <a:moveTo>
                    <a:pt x="3150" y="809"/>
                  </a:moveTo>
                  <a:lnTo>
                    <a:pt x="3408" y="809"/>
                  </a:lnTo>
                  <a:lnTo>
                    <a:pt x="3408" y="445"/>
                  </a:lnTo>
                  <a:lnTo>
                    <a:pt x="3150" y="445"/>
                  </a:lnTo>
                  <a:lnTo>
                    <a:pt x="3150" y="809"/>
                  </a:lnTo>
                  <a:close/>
                  <a:moveTo>
                    <a:pt x="3441" y="888"/>
                  </a:moveTo>
                  <a:lnTo>
                    <a:pt x="3441" y="2519"/>
                  </a:lnTo>
                  <a:lnTo>
                    <a:pt x="3441" y="3215"/>
                  </a:lnTo>
                  <a:lnTo>
                    <a:pt x="3782" y="2988"/>
                  </a:lnTo>
                  <a:lnTo>
                    <a:pt x="3782" y="400"/>
                  </a:lnTo>
                  <a:lnTo>
                    <a:pt x="3441" y="175"/>
                  </a:lnTo>
                  <a:lnTo>
                    <a:pt x="3441" y="888"/>
                  </a:lnTo>
                  <a:close/>
                  <a:moveTo>
                    <a:pt x="2175" y="165"/>
                  </a:moveTo>
                  <a:lnTo>
                    <a:pt x="2175" y="412"/>
                  </a:lnTo>
                  <a:lnTo>
                    <a:pt x="2461" y="412"/>
                  </a:lnTo>
                  <a:lnTo>
                    <a:pt x="2495" y="412"/>
                  </a:lnTo>
                  <a:lnTo>
                    <a:pt x="2779" y="412"/>
                  </a:lnTo>
                  <a:lnTo>
                    <a:pt x="2809" y="412"/>
                  </a:lnTo>
                  <a:lnTo>
                    <a:pt x="3117" y="412"/>
                  </a:lnTo>
                  <a:lnTo>
                    <a:pt x="3150" y="412"/>
                  </a:lnTo>
                  <a:lnTo>
                    <a:pt x="3408" y="412"/>
                  </a:lnTo>
                  <a:lnTo>
                    <a:pt x="3408" y="165"/>
                  </a:lnTo>
                  <a:lnTo>
                    <a:pt x="2175" y="165"/>
                  </a:lnTo>
                  <a:close/>
                  <a:moveTo>
                    <a:pt x="2374" y="0"/>
                  </a:moveTo>
                  <a:lnTo>
                    <a:pt x="2374" y="130"/>
                  </a:lnTo>
                  <a:lnTo>
                    <a:pt x="3411" y="130"/>
                  </a:lnTo>
                  <a:lnTo>
                    <a:pt x="3456" y="154"/>
                  </a:lnTo>
                  <a:lnTo>
                    <a:pt x="3456" y="154"/>
                  </a:lnTo>
                  <a:lnTo>
                    <a:pt x="3763" y="357"/>
                  </a:lnTo>
                  <a:lnTo>
                    <a:pt x="3763" y="206"/>
                  </a:lnTo>
                  <a:lnTo>
                    <a:pt x="3456" y="2"/>
                  </a:lnTo>
                  <a:lnTo>
                    <a:pt x="3456" y="0"/>
                  </a:lnTo>
                  <a:lnTo>
                    <a:pt x="237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nvGrpSpPr>
            <p:cNvPr id="81" name="Gruppieren 80">
              <a:extLst>
                <a:ext uri="{FF2B5EF4-FFF2-40B4-BE49-F238E27FC236}">
                  <a16:creationId xmlns:a16="http://schemas.microsoft.com/office/drawing/2014/main" xmlns="" id="{109ED51F-15C3-48B2-8628-E33849C3D2D7}"/>
                </a:ext>
              </a:extLst>
            </p:cNvPr>
            <p:cNvGrpSpPr/>
            <p:nvPr/>
          </p:nvGrpSpPr>
          <p:grpSpPr>
            <a:xfrm>
              <a:off x="5941390" y="4866383"/>
              <a:ext cx="309830" cy="484916"/>
              <a:chOff x="8282700" y="1713685"/>
              <a:chExt cx="609601" cy="954087"/>
            </a:xfrm>
            <a:solidFill>
              <a:schemeClr val="bg1"/>
            </a:solidFill>
          </p:grpSpPr>
          <p:sp>
            <p:nvSpPr>
              <p:cNvPr id="82" name="Freeform 5">
                <a:extLst>
                  <a:ext uri="{FF2B5EF4-FFF2-40B4-BE49-F238E27FC236}">
                    <a16:creationId xmlns:a16="http://schemas.microsoft.com/office/drawing/2014/main" xmlns="" id="{C0A3E1FF-0D90-40A0-A404-D7CBC58F7EA3}"/>
                  </a:ext>
                </a:extLst>
              </p:cNvPr>
              <p:cNvSpPr>
                <a:spLocks/>
              </p:cNvSpPr>
              <p:nvPr/>
            </p:nvSpPr>
            <p:spPr bwMode="auto">
              <a:xfrm>
                <a:off x="8282700" y="1713685"/>
                <a:ext cx="247650" cy="954087"/>
              </a:xfrm>
              <a:custGeom>
                <a:avLst/>
                <a:gdLst>
                  <a:gd name="T0" fmla="*/ 144 w 144"/>
                  <a:gd name="T1" fmla="*/ 249 h 557"/>
                  <a:gd name="T2" fmla="*/ 127 w 144"/>
                  <a:gd name="T3" fmla="*/ 190 h 557"/>
                  <a:gd name="T4" fmla="*/ 125 w 144"/>
                  <a:gd name="T5" fmla="*/ 187 h 557"/>
                  <a:gd name="T6" fmla="*/ 108 w 144"/>
                  <a:gd name="T7" fmla="*/ 128 h 557"/>
                  <a:gd name="T8" fmla="*/ 108 w 144"/>
                  <a:gd name="T9" fmla="*/ 32 h 557"/>
                  <a:gd name="T10" fmla="*/ 76 w 144"/>
                  <a:gd name="T11" fmla="*/ 0 h 557"/>
                  <a:gd name="T12" fmla="*/ 69 w 144"/>
                  <a:gd name="T13" fmla="*/ 0 h 557"/>
                  <a:gd name="T14" fmla="*/ 37 w 144"/>
                  <a:gd name="T15" fmla="*/ 32 h 557"/>
                  <a:gd name="T16" fmla="*/ 37 w 144"/>
                  <a:gd name="T17" fmla="*/ 128 h 557"/>
                  <a:gd name="T18" fmla="*/ 19 w 144"/>
                  <a:gd name="T19" fmla="*/ 187 h 557"/>
                  <a:gd name="T20" fmla="*/ 17 w 144"/>
                  <a:gd name="T21" fmla="*/ 190 h 557"/>
                  <a:gd name="T22" fmla="*/ 0 w 144"/>
                  <a:gd name="T23" fmla="*/ 249 h 557"/>
                  <a:gd name="T24" fmla="*/ 0 w 144"/>
                  <a:gd name="T25" fmla="*/ 525 h 557"/>
                  <a:gd name="T26" fmla="*/ 32 w 144"/>
                  <a:gd name="T27" fmla="*/ 557 h 557"/>
                  <a:gd name="T28" fmla="*/ 112 w 144"/>
                  <a:gd name="T29" fmla="*/ 557 h 557"/>
                  <a:gd name="T30" fmla="*/ 144 w 144"/>
                  <a:gd name="T31" fmla="*/ 525 h 557"/>
                  <a:gd name="T32" fmla="*/ 144 w 144"/>
                  <a:gd name="T33" fmla="*/ 249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557">
                    <a:moveTo>
                      <a:pt x="144" y="249"/>
                    </a:moveTo>
                    <a:cubicBezTo>
                      <a:pt x="144" y="249"/>
                      <a:pt x="144" y="217"/>
                      <a:pt x="127" y="190"/>
                    </a:cubicBezTo>
                    <a:cubicBezTo>
                      <a:pt x="125" y="187"/>
                      <a:pt x="125" y="187"/>
                      <a:pt x="125" y="187"/>
                    </a:cubicBezTo>
                    <a:cubicBezTo>
                      <a:pt x="125" y="187"/>
                      <a:pt x="108" y="160"/>
                      <a:pt x="108" y="128"/>
                    </a:cubicBezTo>
                    <a:cubicBezTo>
                      <a:pt x="108" y="32"/>
                      <a:pt x="108" y="32"/>
                      <a:pt x="108" y="32"/>
                    </a:cubicBezTo>
                    <a:cubicBezTo>
                      <a:pt x="108" y="32"/>
                      <a:pt x="108" y="0"/>
                      <a:pt x="76" y="0"/>
                    </a:cubicBezTo>
                    <a:cubicBezTo>
                      <a:pt x="69" y="0"/>
                      <a:pt x="69" y="0"/>
                      <a:pt x="69" y="0"/>
                    </a:cubicBezTo>
                    <a:cubicBezTo>
                      <a:pt x="69" y="0"/>
                      <a:pt x="37" y="0"/>
                      <a:pt x="37" y="32"/>
                    </a:cubicBezTo>
                    <a:cubicBezTo>
                      <a:pt x="37" y="128"/>
                      <a:pt x="37" y="128"/>
                      <a:pt x="37" y="128"/>
                    </a:cubicBezTo>
                    <a:cubicBezTo>
                      <a:pt x="37" y="128"/>
                      <a:pt x="37" y="160"/>
                      <a:pt x="19" y="187"/>
                    </a:cubicBezTo>
                    <a:cubicBezTo>
                      <a:pt x="17" y="190"/>
                      <a:pt x="17" y="190"/>
                      <a:pt x="17" y="190"/>
                    </a:cubicBezTo>
                    <a:cubicBezTo>
                      <a:pt x="17" y="190"/>
                      <a:pt x="0" y="217"/>
                      <a:pt x="0" y="249"/>
                    </a:cubicBezTo>
                    <a:cubicBezTo>
                      <a:pt x="0" y="525"/>
                      <a:pt x="0" y="525"/>
                      <a:pt x="0" y="525"/>
                    </a:cubicBezTo>
                    <a:cubicBezTo>
                      <a:pt x="0" y="525"/>
                      <a:pt x="0" y="557"/>
                      <a:pt x="32" y="557"/>
                    </a:cubicBezTo>
                    <a:cubicBezTo>
                      <a:pt x="112" y="557"/>
                      <a:pt x="112" y="557"/>
                      <a:pt x="112" y="557"/>
                    </a:cubicBezTo>
                    <a:cubicBezTo>
                      <a:pt x="112" y="557"/>
                      <a:pt x="144" y="557"/>
                      <a:pt x="144" y="525"/>
                    </a:cubicBezTo>
                    <a:lnTo>
                      <a:pt x="144"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6">
                <a:extLst>
                  <a:ext uri="{FF2B5EF4-FFF2-40B4-BE49-F238E27FC236}">
                    <a16:creationId xmlns:a16="http://schemas.microsoft.com/office/drawing/2014/main" xmlns="" id="{5F233C85-78C4-43D5-999B-021778F02B34}"/>
                  </a:ext>
                </a:extLst>
              </p:cNvPr>
              <p:cNvSpPr>
                <a:spLocks/>
              </p:cNvSpPr>
              <p:nvPr/>
            </p:nvSpPr>
            <p:spPr bwMode="auto">
              <a:xfrm>
                <a:off x="8620838" y="2158184"/>
                <a:ext cx="271463" cy="509587"/>
              </a:xfrm>
              <a:custGeom>
                <a:avLst/>
                <a:gdLst>
                  <a:gd name="T0" fmla="*/ 158 w 158"/>
                  <a:gd name="T1" fmla="*/ 272 h 298"/>
                  <a:gd name="T2" fmla="*/ 158 w 158"/>
                  <a:gd name="T3" fmla="*/ 0 h 298"/>
                  <a:gd name="T4" fmla="*/ 79 w 158"/>
                  <a:gd name="T5" fmla="*/ 26 h 298"/>
                  <a:gd name="T6" fmla="*/ 0 w 158"/>
                  <a:gd name="T7" fmla="*/ 0 h 298"/>
                  <a:gd name="T8" fmla="*/ 0 w 158"/>
                  <a:gd name="T9" fmla="*/ 272 h 298"/>
                  <a:gd name="T10" fmla="*/ 79 w 158"/>
                  <a:gd name="T11" fmla="*/ 298 h 298"/>
                  <a:gd name="T12" fmla="*/ 158 w 158"/>
                  <a:gd name="T13" fmla="*/ 272 h 298"/>
                </a:gdLst>
                <a:ahLst/>
                <a:cxnLst>
                  <a:cxn ang="0">
                    <a:pos x="T0" y="T1"/>
                  </a:cxn>
                  <a:cxn ang="0">
                    <a:pos x="T2" y="T3"/>
                  </a:cxn>
                  <a:cxn ang="0">
                    <a:pos x="T4" y="T5"/>
                  </a:cxn>
                  <a:cxn ang="0">
                    <a:pos x="T6" y="T7"/>
                  </a:cxn>
                  <a:cxn ang="0">
                    <a:pos x="T8" y="T9"/>
                  </a:cxn>
                  <a:cxn ang="0">
                    <a:pos x="T10" y="T11"/>
                  </a:cxn>
                  <a:cxn ang="0">
                    <a:pos x="T12" y="T13"/>
                  </a:cxn>
                </a:cxnLst>
                <a:rect l="0" t="0" r="r" b="b"/>
                <a:pathLst>
                  <a:path w="158" h="298">
                    <a:moveTo>
                      <a:pt x="158" y="272"/>
                    </a:moveTo>
                    <a:cubicBezTo>
                      <a:pt x="158" y="0"/>
                      <a:pt x="158" y="0"/>
                      <a:pt x="158" y="0"/>
                    </a:cubicBezTo>
                    <a:cubicBezTo>
                      <a:pt x="158" y="14"/>
                      <a:pt x="123" y="26"/>
                      <a:pt x="79" y="26"/>
                    </a:cubicBezTo>
                    <a:cubicBezTo>
                      <a:pt x="35" y="26"/>
                      <a:pt x="0" y="14"/>
                      <a:pt x="0" y="0"/>
                    </a:cubicBezTo>
                    <a:cubicBezTo>
                      <a:pt x="0" y="272"/>
                      <a:pt x="0" y="272"/>
                      <a:pt x="0" y="272"/>
                    </a:cubicBezTo>
                    <a:cubicBezTo>
                      <a:pt x="0" y="286"/>
                      <a:pt x="35" y="298"/>
                      <a:pt x="79" y="298"/>
                    </a:cubicBezTo>
                    <a:cubicBezTo>
                      <a:pt x="123" y="298"/>
                      <a:pt x="158" y="286"/>
                      <a:pt x="158" y="2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Oval 7">
                <a:extLst>
                  <a:ext uri="{FF2B5EF4-FFF2-40B4-BE49-F238E27FC236}">
                    <a16:creationId xmlns:a16="http://schemas.microsoft.com/office/drawing/2014/main" xmlns="" id="{95852A00-2782-46F4-929D-480897CBD845}"/>
                  </a:ext>
                </a:extLst>
              </p:cNvPr>
              <p:cNvSpPr>
                <a:spLocks noChangeArrowheads="1"/>
              </p:cNvSpPr>
              <p:nvPr/>
            </p:nvSpPr>
            <p:spPr bwMode="auto">
              <a:xfrm>
                <a:off x="8620838" y="2086747"/>
                <a:ext cx="27146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uppieren 84">
              <a:extLst>
                <a:ext uri="{FF2B5EF4-FFF2-40B4-BE49-F238E27FC236}">
                  <a16:creationId xmlns:a16="http://schemas.microsoft.com/office/drawing/2014/main" xmlns="" id="{3962B7E3-23BA-4312-B605-32A80CF3A63A}"/>
                </a:ext>
              </a:extLst>
            </p:cNvPr>
            <p:cNvGrpSpPr/>
            <p:nvPr/>
          </p:nvGrpSpPr>
          <p:grpSpPr>
            <a:xfrm>
              <a:off x="5847796" y="2131803"/>
              <a:ext cx="497019" cy="459097"/>
              <a:chOff x="7686675" y="3676651"/>
              <a:chExt cx="977900" cy="903287"/>
            </a:xfrm>
            <a:solidFill>
              <a:schemeClr val="bg1"/>
            </a:solidFill>
          </p:grpSpPr>
          <p:sp>
            <p:nvSpPr>
              <p:cNvPr id="86" name="Freeform 11">
                <a:extLst>
                  <a:ext uri="{FF2B5EF4-FFF2-40B4-BE49-F238E27FC236}">
                    <a16:creationId xmlns:a16="http://schemas.microsoft.com/office/drawing/2014/main" xmlns="" id="{02E44CFA-712A-4972-8151-5C8D0C6617C6}"/>
                  </a:ext>
                </a:extLst>
              </p:cNvPr>
              <p:cNvSpPr>
                <a:spLocks noEditPoints="1"/>
              </p:cNvSpPr>
              <p:nvPr/>
            </p:nvSpPr>
            <p:spPr bwMode="auto">
              <a:xfrm>
                <a:off x="7686675" y="3973513"/>
                <a:ext cx="673100" cy="606425"/>
              </a:xfrm>
              <a:custGeom>
                <a:avLst/>
                <a:gdLst>
                  <a:gd name="T0" fmla="*/ 271 w 487"/>
                  <a:gd name="T1" fmla="*/ 438 h 438"/>
                  <a:gd name="T2" fmla="*/ 271 w 487"/>
                  <a:gd name="T3" fmla="*/ 357 h 438"/>
                  <a:gd name="T4" fmla="*/ 54 w 487"/>
                  <a:gd name="T5" fmla="*/ 398 h 438"/>
                  <a:gd name="T6" fmla="*/ 135 w 487"/>
                  <a:gd name="T7" fmla="*/ 398 h 438"/>
                  <a:gd name="T8" fmla="*/ 54 w 487"/>
                  <a:gd name="T9" fmla="*/ 398 h 438"/>
                  <a:gd name="T10" fmla="*/ 349 w 487"/>
                  <a:gd name="T11" fmla="*/ 223 h 438"/>
                  <a:gd name="T12" fmla="*/ 326 w 487"/>
                  <a:gd name="T13" fmla="*/ 166 h 438"/>
                  <a:gd name="T14" fmla="*/ 326 w 487"/>
                  <a:gd name="T15" fmla="*/ 252 h 438"/>
                  <a:gd name="T16" fmla="*/ 326 w 487"/>
                  <a:gd name="T17" fmla="*/ 272 h 438"/>
                  <a:gd name="T18" fmla="*/ 298 w 487"/>
                  <a:gd name="T19" fmla="*/ 309 h 438"/>
                  <a:gd name="T20" fmla="*/ 227 w 487"/>
                  <a:gd name="T21" fmla="*/ 252 h 438"/>
                  <a:gd name="T22" fmla="*/ 298 w 487"/>
                  <a:gd name="T23" fmla="*/ 309 h 438"/>
                  <a:gd name="T24" fmla="*/ 227 w 487"/>
                  <a:gd name="T25" fmla="*/ 223 h 438"/>
                  <a:gd name="T26" fmla="*/ 298 w 487"/>
                  <a:gd name="T27" fmla="*/ 166 h 438"/>
                  <a:gd name="T28" fmla="*/ 198 w 487"/>
                  <a:gd name="T29" fmla="*/ 309 h 438"/>
                  <a:gd name="T30" fmla="*/ 128 w 487"/>
                  <a:gd name="T31" fmla="*/ 252 h 438"/>
                  <a:gd name="T32" fmla="*/ 198 w 487"/>
                  <a:gd name="T33" fmla="*/ 309 h 438"/>
                  <a:gd name="T34" fmla="*/ 128 w 487"/>
                  <a:gd name="T35" fmla="*/ 223 h 438"/>
                  <a:gd name="T36" fmla="*/ 198 w 487"/>
                  <a:gd name="T37" fmla="*/ 166 h 438"/>
                  <a:gd name="T38" fmla="*/ 99 w 487"/>
                  <a:gd name="T39" fmla="*/ 309 h 438"/>
                  <a:gd name="T40" fmla="*/ 28 w 487"/>
                  <a:gd name="T41" fmla="*/ 252 h 438"/>
                  <a:gd name="T42" fmla="*/ 99 w 487"/>
                  <a:gd name="T43" fmla="*/ 309 h 438"/>
                  <a:gd name="T44" fmla="*/ 28 w 487"/>
                  <a:gd name="T45" fmla="*/ 223 h 438"/>
                  <a:gd name="T46" fmla="*/ 99 w 487"/>
                  <a:gd name="T47" fmla="*/ 166 h 438"/>
                  <a:gd name="T48" fmla="*/ 487 w 487"/>
                  <a:gd name="T49" fmla="*/ 0 h 438"/>
                  <a:gd name="T50" fmla="*/ 391 w 487"/>
                  <a:gd name="T51" fmla="*/ 138 h 438"/>
                  <a:gd name="T52" fmla="*/ 298 w 487"/>
                  <a:gd name="T53" fmla="*/ 138 h 438"/>
                  <a:gd name="T54" fmla="*/ 198 w 487"/>
                  <a:gd name="T55" fmla="*/ 138 h 438"/>
                  <a:gd name="T56" fmla="*/ 99 w 487"/>
                  <a:gd name="T57" fmla="*/ 138 h 438"/>
                  <a:gd name="T58" fmla="*/ 0 w 487"/>
                  <a:gd name="T59" fmla="*/ 138 h 438"/>
                  <a:gd name="T60" fmla="*/ 0 w 487"/>
                  <a:gd name="T61" fmla="*/ 223 h 438"/>
                  <a:gd name="T62" fmla="*/ 0 w 487"/>
                  <a:gd name="T63" fmla="*/ 309 h 438"/>
                  <a:gd name="T64" fmla="*/ 28 w 487"/>
                  <a:gd name="T65" fmla="*/ 337 h 438"/>
                  <a:gd name="T66" fmla="*/ 128 w 487"/>
                  <a:gd name="T67" fmla="*/ 337 h 438"/>
                  <a:gd name="T68" fmla="*/ 227 w 487"/>
                  <a:gd name="T69" fmla="*/ 337 h 438"/>
                  <a:gd name="T70" fmla="*/ 298 w 487"/>
                  <a:gd name="T71" fmla="*/ 337 h 438"/>
                  <a:gd name="T72" fmla="*/ 322 w 487"/>
                  <a:gd name="T73" fmla="*/ 337 h 438"/>
                  <a:gd name="T74" fmla="*/ 326 w 487"/>
                  <a:gd name="T75" fmla="*/ 33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7" h="438">
                    <a:moveTo>
                      <a:pt x="231" y="398"/>
                    </a:moveTo>
                    <a:cubicBezTo>
                      <a:pt x="231" y="420"/>
                      <a:pt x="249" y="438"/>
                      <a:pt x="271" y="438"/>
                    </a:cubicBezTo>
                    <a:cubicBezTo>
                      <a:pt x="294" y="438"/>
                      <a:pt x="312" y="420"/>
                      <a:pt x="312" y="398"/>
                    </a:cubicBezTo>
                    <a:cubicBezTo>
                      <a:pt x="312" y="375"/>
                      <a:pt x="294" y="357"/>
                      <a:pt x="271" y="357"/>
                    </a:cubicBezTo>
                    <a:cubicBezTo>
                      <a:pt x="249" y="357"/>
                      <a:pt x="231" y="375"/>
                      <a:pt x="231" y="398"/>
                    </a:cubicBezTo>
                    <a:moveTo>
                      <a:pt x="54" y="398"/>
                    </a:moveTo>
                    <a:cubicBezTo>
                      <a:pt x="54" y="420"/>
                      <a:pt x="72" y="438"/>
                      <a:pt x="95" y="438"/>
                    </a:cubicBezTo>
                    <a:cubicBezTo>
                      <a:pt x="117" y="438"/>
                      <a:pt x="135" y="420"/>
                      <a:pt x="135" y="398"/>
                    </a:cubicBezTo>
                    <a:cubicBezTo>
                      <a:pt x="135" y="375"/>
                      <a:pt x="117" y="357"/>
                      <a:pt x="95" y="357"/>
                    </a:cubicBezTo>
                    <a:cubicBezTo>
                      <a:pt x="72" y="357"/>
                      <a:pt x="54" y="375"/>
                      <a:pt x="54" y="398"/>
                    </a:cubicBezTo>
                    <a:moveTo>
                      <a:pt x="377" y="166"/>
                    </a:moveTo>
                    <a:cubicBezTo>
                      <a:pt x="349" y="223"/>
                      <a:pt x="349" y="223"/>
                      <a:pt x="349" y="223"/>
                    </a:cubicBezTo>
                    <a:cubicBezTo>
                      <a:pt x="326" y="223"/>
                      <a:pt x="326" y="223"/>
                      <a:pt x="326" y="223"/>
                    </a:cubicBezTo>
                    <a:cubicBezTo>
                      <a:pt x="326" y="166"/>
                      <a:pt x="326" y="166"/>
                      <a:pt x="326" y="166"/>
                    </a:cubicBezTo>
                    <a:lnTo>
                      <a:pt x="377" y="166"/>
                    </a:lnTo>
                    <a:close/>
                    <a:moveTo>
                      <a:pt x="326" y="252"/>
                    </a:moveTo>
                    <a:cubicBezTo>
                      <a:pt x="336" y="252"/>
                      <a:pt x="336" y="252"/>
                      <a:pt x="336" y="252"/>
                    </a:cubicBezTo>
                    <a:cubicBezTo>
                      <a:pt x="326" y="272"/>
                      <a:pt x="326" y="272"/>
                      <a:pt x="326" y="272"/>
                    </a:cubicBezTo>
                    <a:lnTo>
                      <a:pt x="326" y="252"/>
                    </a:lnTo>
                    <a:close/>
                    <a:moveTo>
                      <a:pt x="298" y="309"/>
                    </a:moveTo>
                    <a:cubicBezTo>
                      <a:pt x="227" y="309"/>
                      <a:pt x="227" y="309"/>
                      <a:pt x="227" y="309"/>
                    </a:cubicBezTo>
                    <a:cubicBezTo>
                      <a:pt x="227" y="252"/>
                      <a:pt x="227" y="252"/>
                      <a:pt x="227" y="252"/>
                    </a:cubicBezTo>
                    <a:cubicBezTo>
                      <a:pt x="298" y="252"/>
                      <a:pt x="298" y="252"/>
                      <a:pt x="298" y="252"/>
                    </a:cubicBezTo>
                    <a:lnTo>
                      <a:pt x="298" y="309"/>
                    </a:lnTo>
                    <a:close/>
                    <a:moveTo>
                      <a:pt x="298" y="223"/>
                    </a:moveTo>
                    <a:cubicBezTo>
                      <a:pt x="227" y="223"/>
                      <a:pt x="227" y="223"/>
                      <a:pt x="227" y="223"/>
                    </a:cubicBezTo>
                    <a:cubicBezTo>
                      <a:pt x="227" y="166"/>
                      <a:pt x="227" y="166"/>
                      <a:pt x="227" y="166"/>
                    </a:cubicBezTo>
                    <a:cubicBezTo>
                      <a:pt x="298" y="166"/>
                      <a:pt x="298" y="166"/>
                      <a:pt x="298" y="166"/>
                    </a:cubicBezTo>
                    <a:lnTo>
                      <a:pt x="298" y="223"/>
                    </a:lnTo>
                    <a:close/>
                    <a:moveTo>
                      <a:pt x="198" y="309"/>
                    </a:moveTo>
                    <a:cubicBezTo>
                      <a:pt x="128" y="309"/>
                      <a:pt x="128" y="309"/>
                      <a:pt x="128" y="309"/>
                    </a:cubicBezTo>
                    <a:cubicBezTo>
                      <a:pt x="128" y="252"/>
                      <a:pt x="128" y="252"/>
                      <a:pt x="128" y="252"/>
                    </a:cubicBezTo>
                    <a:cubicBezTo>
                      <a:pt x="198" y="252"/>
                      <a:pt x="198" y="252"/>
                      <a:pt x="198" y="252"/>
                    </a:cubicBezTo>
                    <a:lnTo>
                      <a:pt x="198" y="309"/>
                    </a:lnTo>
                    <a:close/>
                    <a:moveTo>
                      <a:pt x="198" y="223"/>
                    </a:moveTo>
                    <a:cubicBezTo>
                      <a:pt x="128" y="223"/>
                      <a:pt x="128" y="223"/>
                      <a:pt x="128" y="223"/>
                    </a:cubicBezTo>
                    <a:cubicBezTo>
                      <a:pt x="128" y="166"/>
                      <a:pt x="128" y="166"/>
                      <a:pt x="128" y="166"/>
                    </a:cubicBezTo>
                    <a:cubicBezTo>
                      <a:pt x="198" y="166"/>
                      <a:pt x="198" y="166"/>
                      <a:pt x="198" y="166"/>
                    </a:cubicBezTo>
                    <a:lnTo>
                      <a:pt x="198" y="223"/>
                    </a:lnTo>
                    <a:close/>
                    <a:moveTo>
                      <a:pt x="99" y="309"/>
                    </a:moveTo>
                    <a:cubicBezTo>
                      <a:pt x="28" y="309"/>
                      <a:pt x="28" y="309"/>
                      <a:pt x="28" y="309"/>
                    </a:cubicBezTo>
                    <a:cubicBezTo>
                      <a:pt x="28" y="252"/>
                      <a:pt x="28" y="252"/>
                      <a:pt x="28" y="252"/>
                    </a:cubicBezTo>
                    <a:cubicBezTo>
                      <a:pt x="99" y="252"/>
                      <a:pt x="99" y="252"/>
                      <a:pt x="99" y="252"/>
                    </a:cubicBezTo>
                    <a:lnTo>
                      <a:pt x="99" y="309"/>
                    </a:lnTo>
                    <a:close/>
                    <a:moveTo>
                      <a:pt x="99" y="223"/>
                    </a:moveTo>
                    <a:cubicBezTo>
                      <a:pt x="28" y="223"/>
                      <a:pt x="28" y="223"/>
                      <a:pt x="28" y="223"/>
                    </a:cubicBezTo>
                    <a:cubicBezTo>
                      <a:pt x="28" y="166"/>
                      <a:pt x="28" y="166"/>
                      <a:pt x="28" y="166"/>
                    </a:cubicBezTo>
                    <a:cubicBezTo>
                      <a:pt x="99" y="166"/>
                      <a:pt x="99" y="166"/>
                      <a:pt x="99" y="166"/>
                    </a:cubicBezTo>
                    <a:lnTo>
                      <a:pt x="99" y="223"/>
                    </a:lnTo>
                    <a:close/>
                    <a:moveTo>
                      <a:pt x="487" y="0"/>
                    </a:moveTo>
                    <a:cubicBezTo>
                      <a:pt x="458" y="0"/>
                      <a:pt x="458" y="0"/>
                      <a:pt x="458" y="0"/>
                    </a:cubicBezTo>
                    <a:cubicBezTo>
                      <a:pt x="391" y="138"/>
                      <a:pt x="391" y="138"/>
                      <a:pt x="391" y="138"/>
                    </a:cubicBezTo>
                    <a:cubicBezTo>
                      <a:pt x="326" y="138"/>
                      <a:pt x="326" y="138"/>
                      <a:pt x="326" y="138"/>
                    </a:cubicBezTo>
                    <a:cubicBezTo>
                      <a:pt x="298" y="138"/>
                      <a:pt x="298" y="138"/>
                      <a:pt x="298" y="138"/>
                    </a:cubicBezTo>
                    <a:cubicBezTo>
                      <a:pt x="227" y="138"/>
                      <a:pt x="227" y="138"/>
                      <a:pt x="227" y="138"/>
                    </a:cubicBezTo>
                    <a:cubicBezTo>
                      <a:pt x="198" y="138"/>
                      <a:pt x="198" y="138"/>
                      <a:pt x="198" y="138"/>
                    </a:cubicBezTo>
                    <a:cubicBezTo>
                      <a:pt x="128" y="138"/>
                      <a:pt x="128" y="138"/>
                      <a:pt x="128" y="138"/>
                    </a:cubicBezTo>
                    <a:cubicBezTo>
                      <a:pt x="99" y="138"/>
                      <a:pt x="99" y="138"/>
                      <a:pt x="99" y="138"/>
                    </a:cubicBezTo>
                    <a:cubicBezTo>
                      <a:pt x="28" y="138"/>
                      <a:pt x="28" y="138"/>
                      <a:pt x="28" y="138"/>
                    </a:cubicBezTo>
                    <a:cubicBezTo>
                      <a:pt x="0" y="138"/>
                      <a:pt x="0" y="138"/>
                      <a:pt x="0" y="138"/>
                    </a:cubicBezTo>
                    <a:cubicBezTo>
                      <a:pt x="0" y="166"/>
                      <a:pt x="0" y="166"/>
                      <a:pt x="0" y="166"/>
                    </a:cubicBezTo>
                    <a:cubicBezTo>
                      <a:pt x="0" y="223"/>
                      <a:pt x="0" y="223"/>
                      <a:pt x="0" y="223"/>
                    </a:cubicBezTo>
                    <a:cubicBezTo>
                      <a:pt x="0" y="252"/>
                      <a:pt x="0" y="252"/>
                      <a:pt x="0" y="252"/>
                    </a:cubicBezTo>
                    <a:cubicBezTo>
                      <a:pt x="0" y="309"/>
                      <a:pt x="0" y="309"/>
                      <a:pt x="0" y="309"/>
                    </a:cubicBezTo>
                    <a:cubicBezTo>
                      <a:pt x="0" y="337"/>
                      <a:pt x="0" y="337"/>
                      <a:pt x="0" y="337"/>
                    </a:cubicBezTo>
                    <a:cubicBezTo>
                      <a:pt x="28" y="337"/>
                      <a:pt x="28" y="337"/>
                      <a:pt x="28" y="337"/>
                    </a:cubicBezTo>
                    <a:cubicBezTo>
                      <a:pt x="99" y="337"/>
                      <a:pt x="99" y="337"/>
                      <a:pt x="99" y="337"/>
                    </a:cubicBezTo>
                    <a:cubicBezTo>
                      <a:pt x="128" y="337"/>
                      <a:pt x="128" y="337"/>
                      <a:pt x="128" y="337"/>
                    </a:cubicBezTo>
                    <a:cubicBezTo>
                      <a:pt x="198" y="337"/>
                      <a:pt x="198" y="337"/>
                      <a:pt x="198" y="337"/>
                    </a:cubicBezTo>
                    <a:cubicBezTo>
                      <a:pt x="227" y="337"/>
                      <a:pt x="227" y="337"/>
                      <a:pt x="227" y="337"/>
                    </a:cubicBezTo>
                    <a:cubicBezTo>
                      <a:pt x="294" y="337"/>
                      <a:pt x="294" y="337"/>
                      <a:pt x="294" y="337"/>
                    </a:cubicBezTo>
                    <a:cubicBezTo>
                      <a:pt x="298" y="337"/>
                      <a:pt x="298" y="337"/>
                      <a:pt x="298" y="337"/>
                    </a:cubicBezTo>
                    <a:cubicBezTo>
                      <a:pt x="312" y="337"/>
                      <a:pt x="312" y="337"/>
                      <a:pt x="312" y="337"/>
                    </a:cubicBezTo>
                    <a:cubicBezTo>
                      <a:pt x="322" y="337"/>
                      <a:pt x="322" y="337"/>
                      <a:pt x="322" y="337"/>
                    </a:cubicBezTo>
                    <a:cubicBezTo>
                      <a:pt x="326" y="337"/>
                      <a:pt x="326" y="337"/>
                      <a:pt x="326" y="337"/>
                    </a:cubicBezTo>
                    <a:cubicBezTo>
                      <a:pt x="326" y="330"/>
                      <a:pt x="326" y="330"/>
                      <a:pt x="326" y="330"/>
                    </a:cubicBezTo>
                    <a:lnTo>
                      <a:pt x="4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Oval 12">
                <a:extLst>
                  <a:ext uri="{FF2B5EF4-FFF2-40B4-BE49-F238E27FC236}">
                    <a16:creationId xmlns:a16="http://schemas.microsoft.com/office/drawing/2014/main" xmlns="" id="{FCBD4456-7C07-4EAD-AE4F-C81774C2B5A5}"/>
                  </a:ext>
                </a:extLst>
              </p:cNvPr>
              <p:cNvSpPr>
                <a:spLocks noChangeArrowheads="1"/>
              </p:cNvSpPr>
              <p:nvPr/>
            </p:nvSpPr>
            <p:spPr bwMode="auto">
              <a:xfrm>
                <a:off x="8456613" y="3676651"/>
                <a:ext cx="139700" cy="1793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8" name="Freeform 13">
                <a:extLst>
                  <a:ext uri="{FF2B5EF4-FFF2-40B4-BE49-F238E27FC236}">
                    <a16:creationId xmlns:a16="http://schemas.microsoft.com/office/drawing/2014/main" xmlns="" id="{F6237BF3-8F48-468F-96CA-3C3C74F304A8}"/>
                  </a:ext>
                </a:extLst>
              </p:cNvPr>
              <p:cNvSpPr>
                <a:spLocks/>
              </p:cNvSpPr>
              <p:nvPr/>
            </p:nvSpPr>
            <p:spPr bwMode="auto">
              <a:xfrm>
                <a:off x="8389938" y="3856038"/>
                <a:ext cx="274637" cy="723900"/>
              </a:xfrm>
              <a:custGeom>
                <a:avLst/>
                <a:gdLst>
                  <a:gd name="T0" fmla="*/ 198 w 198"/>
                  <a:gd name="T1" fmla="*/ 277 h 524"/>
                  <a:gd name="T2" fmla="*/ 191 w 198"/>
                  <a:gd name="T3" fmla="*/ 30 h 524"/>
                  <a:gd name="T4" fmla="*/ 141 w 198"/>
                  <a:gd name="T5" fmla="*/ 0 h 524"/>
                  <a:gd name="T6" fmla="*/ 140 w 198"/>
                  <a:gd name="T7" fmla="*/ 0 h 524"/>
                  <a:gd name="T8" fmla="*/ 99 w 198"/>
                  <a:gd name="T9" fmla="*/ 22 h 524"/>
                  <a:gd name="T10" fmla="*/ 57 w 198"/>
                  <a:gd name="T11" fmla="*/ 0 h 524"/>
                  <a:gd name="T12" fmla="*/ 57 w 198"/>
                  <a:gd name="T13" fmla="*/ 0 h 524"/>
                  <a:gd name="T14" fmla="*/ 6 w 198"/>
                  <a:gd name="T15" fmla="*/ 30 h 524"/>
                  <a:gd name="T16" fmla="*/ 0 w 198"/>
                  <a:gd name="T17" fmla="*/ 277 h 524"/>
                  <a:gd name="T18" fmla="*/ 12 w 198"/>
                  <a:gd name="T19" fmla="*/ 289 h 524"/>
                  <a:gd name="T20" fmla="*/ 17 w 198"/>
                  <a:gd name="T21" fmla="*/ 289 h 524"/>
                  <a:gd name="T22" fmla="*/ 29 w 198"/>
                  <a:gd name="T23" fmla="*/ 277 h 524"/>
                  <a:gd name="T24" fmla="*/ 29 w 198"/>
                  <a:gd name="T25" fmla="*/ 249 h 524"/>
                  <a:gd name="T26" fmla="*/ 52 w 198"/>
                  <a:gd name="T27" fmla="*/ 254 h 524"/>
                  <a:gd name="T28" fmla="*/ 51 w 198"/>
                  <a:gd name="T29" fmla="*/ 261 h 524"/>
                  <a:gd name="T30" fmla="*/ 51 w 198"/>
                  <a:gd name="T31" fmla="*/ 500 h 524"/>
                  <a:gd name="T32" fmla="*/ 66 w 198"/>
                  <a:gd name="T33" fmla="*/ 524 h 524"/>
                  <a:gd name="T34" fmla="*/ 73 w 198"/>
                  <a:gd name="T35" fmla="*/ 524 h 524"/>
                  <a:gd name="T36" fmla="*/ 89 w 198"/>
                  <a:gd name="T37" fmla="*/ 500 h 524"/>
                  <a:gd name="T38" fmla="*/ 89 w 198"/>
                  <a:gd name="T39" fmla="*/ 261 h 524"/>
                  <a:gd name="T40" fmla="*/ 88 w 198"/>
                  <a:gd name="T41" fmla="*/ 256 h 524"/>
                  <a:gd name="T42" fmla="*/ 109 w 198"/>
                  <a:gd name="T43" fmla="*/ 256 h 524"/>
                  <a:gd name="T44" fmla="*/ 108 w 198"/>
                  <a:gd name="T45" fmla="*/ 261 h 524"/>
                  <a:gd name="T46" fmla="*/ 108 w 198"/>
                  <a:gd name="T47" fmla="*/ 500 h 524"/>
                  <a:gd name="T48" fmla="*/ 125 w 198"/>
                  <a:gd name="T49" fmla="*/ 524 h 524"/>
                  <a:gd name="T50" fmla="*/ 131 w 198"/>
                  <a:gd name="T51" fmla="*/ 524 h 524"/>
                  <a:gd name="T52" fmla="*/ 147 w 198"/>
                  <a:gd name="T53" fmla="*/ 500 h 524"/>
                  <a:gd name="T54" fmla="*/ 147 w 198"/>
                  <a:gd name="T55" fmla="*/ 261 h 524"/>
                  <a:gd name="T56" fmla="*/ 145 w 198"/>
                  <a:gd name="T57" fmla="*/ 253 h 524"/>
                  <a:gd name="T58" fmla="*/ 169 w 198"/>
                  <a:gd name="T59" fmla="*/ 249 h 524"/>
                  <a:gd name="T60" fmla="*/ 169 w 198"/>
                  <a:gd name="T61" fmla="*/ 277 h 524"/>
                  <a:gd name="T62" fmla="*/ 181 w 198"/>
                  <a:gd name="T63" fmla="*/ 289 h 524"/>
                  <a:gd name="T64" fmla="*/ 186 w 198"/>
                  <a:gd name="T65" fmla="*/ 289 h 524"/>
                  <a:gd name="T66" fmla="*/ 198 w 198"/>
                  <a:gd name="T67" fmla="*/ 27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524">
                    <a:moveTo>
                      <a:pt x="198" y="277"/>
                    </a:moveTo>
                    <a:cubicBezTo>
                      <a:pt x="191" y="30"/>
                      <a:pt x="191" y="30"/>
                      <a:pt x="191" y="30"/>
                    </a:cubicBezTo>
                    <a:cubicBezTo>
                      <a:pt x="191" y="15"/>
                      <a:pt x="163" y="0"/>
                      <a:pt x="141" y="0"/>
                    </a:cubicBezTo>
                    <a:cubicBezTo>
                      <a:pt x="140" y="0"/>
                      <a:pt x="140" y="0"/>
                      <a:pt x="140" y="0"/>
                    </a:cubicBezTo>
                    <a:cubicBezTo>
                      <a:pt x="129" y="14"/>
                      <a:pt x="115" y="22"/>
                      <a:pt x="99" y="22"/>
                    </a:cubicBezTo>
                    <a:cubicBezTo>
                      <a:pt x="83" y="22"/>
                      <a:pt x="68" y="14"/>
                      <a:pt x="57" y="0"/>
                    </a:cubicBezTo>
                    <a:cubicBezTo>
                      <a:pt x="57" y="0"/>
                      <a:pt x="57" y="0"/>
                      <a:pt x="57" y="0"/>
                    </a:cubicBezTo>
                    <a:cubicBezTo>
                      <a:pt x="57" y="0"/>
                      <a:pt x="6" y="10"/>
                      <a:pt x="6" y="30"/>
                    </a:cubicBezTo>
                    <a:cubicBezTo>
                      <a:pt x="0" y="277"/>
                      <a:pt x="0" y="277"/>
                      <a:pt x="0" y="277"/>
                    </a:cubicBezTo>
                    <a:cubicBezTo>
                      <a:pt x="0" y="277"/>
                      <a:pt x="0" y="289"/>
                      <a:pt x="12" y="289"/>
                    </a:cubicBezTo>
                    <a:cubicBezTo>
                      <a:pt x="17" y="289"/>
                      <a:pt x="17" y="289"/>
                      <a:pt x="17" y="289"/>
                    </a:cubicBezTo>
                    <a:cubicBezTo>
                      <a:pt x="17" y="289"/>
                      <a:pt x="29" y="289"/>
                      <a:pt x="29" y="277"/>
                    </a:cubicBezTo>
                    <a:cubicBezTo>
                      <a:pt x="29" y="249"/>
                      <a:pt x="29" y="249"/>
                      <a:pt x="29" y="249"/>
                    </a:cubicBezTo>
                    <a:cubicBezTo>
                      <a:pt x="32" y="251"/>
                      <a:pt x="48" y="253"/>
                      <a:pt x="52" y="254"/>
                    </a:cubicBezTo>
                    <a:cubicBezTo>
                      <a:pt x="51" y="256"/>
                      <a:pt x="51" y="258"/>
                      <a:pt x="51" y="261"/>
                    </a:cubicBezTo>
                    <a:cubicBezTo>
                      <a:pt x="51" y="500"/>
                      <a:pt x="51" y="500"/>
                      <a:pt x="51" y="500"/>
                    </a:cubicBezTo>
                    <a:cubicBezTo>
                      <a:pt x="51" y="500"/>
                      <a:pt x="51" y="524"/>
                      <a:pt x="66" y="524"/>
                    </a:cubicBezTo>
                    <a:cubicBezTo>
                      <a:pt x="73" y="524"/>
                      <a:pt x="73" y="524"/>
                      <a:pt x="73" y="524"/>
                    </a:cubicBezTo>
                    <a:cubicBezTo>
                      <a:pt x="73" y="524"/>
                      <a:pt x="89" y="524"/>
                      <a:pt x="89" y="500"/>
                    </a:cubicBezTo>
                    <a:cubicBezTo>
                      <a:pt x="89" y="261"/>
                      <a:pt x="89" y="261"/>
                      <a:pt x="89" y="261"/>
                    </a:cubicBezTo>
                    <a:cubicBezTo>
                      <a:pt x="89" y="261"/>
                      <a:pt x="89" y="259"/>
                      <a:pt x="88" y="256"/>
                    </a:cubicBezTo>
                    <a:cubicBezTo>
                      <a:pt x="109" y="256"/>
                      <a:pt x="109" y="256"/>
                      <a:pt x="109" y="256"/>
                    </a:cubicBezTo>
                    <a:cubicBezTo>
                      <a:pt x="109" y="258"/>
                      <a:pt x="108" y="259"/>
                      <a:pt x="108" y="261"/>
                    </a:cubicBezTo>
                    <a:cubicBezTo>
                      <a:pt x="108" y="500"/>
                      <a:pt x="108" y="500"/>
                      <a:pt x="108" y="500"/>
                    </a:cubicBezTo>
                    <a:cubicBezTo>
                      <a:pt x="108" y="500"/>
                      <a:pt x="109" y="524"/>
                      <a:pt x="125" y="524"/>
                    </a:cubicBezTo>
                    <a:cubicBezTo>
                      <a:pt x="131" y="524"/>
                      <a:pt x="131" y="524"/>
                      <a:pt x="131" y="524"/>
                    </a:cubicBezTo>
                    <a:cubicBezTo>
                      <a:pt x="131" y="524"/>
                      <a:pt x="147" y="524"/>
                      <a:pt x="147" y="500"/>
                    </a:cubicBezTo>
                    <a:cubicBezTo>
                      <a:pt x="147" y="261"/>
                      <a:pt x="147" y="261"/>
                      <a:pt x="147" y="261"/>
                    </a:cubicBezTo>
                    <a:cubicBezTo>
                      <a:pt x="147" y="261"/>
                      <a:pt x="147" y="258"/>
                      <a:pt x="145" y="253"/>
                    </a:cubicBezTo>
                    <a:cubicBezTo>
                      <a:pt x="149" y="252"/>
                      <a:pt x="165" y="251"/>
                      <a:pt x="169" y="249"/>
                    </a:cubicBezTo>
                    <a:cubicBezTo>
                      <a:pt x="169" y="277"/>
                      <a:pt x="169" y="277"/>
                      <a:pt x="169" y="277"/>
                    </a:cubicBezTo>
                    <a:cubicBezTo>
                      <a:pt x="169" y="277"/>
                      <a:pt x="169" y="289"/>
                      <a:pt x="181" y="289"/>
                    </a:cubicBezTo>
                    <a:cubicBezTo>
                      <a:pt x="186" y="289"/>
                      <a:pt x="186" y="289"/>
                      <a:pt x="186" y="289"/>
                    </a:cubicBezTo>
                    <a:cubicBezTo>
                      <a:pt x="186" y="289"/>
                      <a:pt x="198" y="289"/>
                      <a:pt x="198" y="2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9" name="Gruppieren 88">
              <a:extLst>
                <a:ext uri="{FF2B5EF4-FFF2-40B4-BE49-F238E27FC236}">
                  <a16:creationId xmlns:a16="http://schemas.microsoft.com/office/drawing/2014/main" xmlns="" id="{B6544F9A-9CD7-4AF5-8FB1-0C8B3CC4FC66}"/>
                </a:ext>
              </a:extLst>
            </p:cNvPr>
            <p:cNvGrpSpPr/>
            <p:nvPr/>
          </p:nvGrpSpPr>
          <p:grpSpPr>
            <a:xfrm>
              <a:off x="5910117" y="5886078"/>
              <a:ext cx="372377" cy="295993"/>
              <a:chOff x="9351963" y="5937250"/>
              <a:chExt cx="742950" cy="590551"/>
            </a:xfrm>
            <a:solidFill>
              <a:schemeClr val="tx2"/>
            </a:solidFill>
          </p:grpSpPr>
          <p:sp>
            <p:nvSpPr>
              <p:cNvPr id="90" name="Freeform 17">
                <a:extLst>
                  <a:ext uri="{FF2B5EF4-FFF2-40B4-BE49-F238E27FC236}">
                    <a16:creationId xmlns:a16="http://schemas.microsoft.com/office/drawing/2014/main" xmlns="" id="{77435022-D022-4DB8-B58F-C0F95D358CCA}"/>
                  </a:ext>
                </a:extLst>
              </p:cNvPr>
              <p:cNvSpPr>
                <a:spLocks noEditPoints="1"/>
              </p:cNvSpPr>
              <p:nvPr/>
            </p:nvSpPr>
            <p:spPr bwMode="auto">
              <a:xfrm>
                <a:off x="9351963" y="6097588"/>
                <a:ext cx="600075" cy="430213"/>
              </a:xfrm>
              <a:custGeom>
                <a:avLst/>
                <a:gdLst>
                  <a:gd name="T0" fmla="*/ 258 w 262"/>
                  <a:gd name="T1" fmla="*/ 94 h 187"/>
                  <a:gd name="T2" fmla="*/ 252 w 262"/>
                  <a:gd name="T3" fmla="*/ 100 h 187"/>
                  <a:gd name="T4" fmla="*/ 246 w 262"/>
                  <a:gd name="T5" fmla="*/ 94 h 187"/>
                  <a:gd name="T6" fmla="*/ 252 w 262"/>
                  <a:gd name="T7" fmla="*/ 87 h 187"/>
                  <a:gd name="T8" fmla="*/ 258 w 262"/>
                  <a:gd name="T9" fmla="*/ 94 h 187"/>
                  <a:gd name="T10" fmla="*/ 12 w 262"/>
                  <a:gd name="T11" fmla="*/ 94 h 187"/>
                  <a:gd name="T12" fmla="*/ 9 w 262"/>
                  <a:gd name="T13" fmla="*/ 96 h 187"/>
                  <a:gd name="T14" fmla="*/ 7 w 262"/>
                  <a:gd name="T15" fmla="*/ 94 h 187"/>
                  <a:gd name="T16" fmla="*/ 9 w 262"/>
                  <a:gd name="T17" fmla="*/ 91 h 187"/>
                  <a:gd name="T18" fmla="*/ 12 w 262"/>
                  <a:gd name="T19" fmla="*/ 94 h 187"/>
                  <a:gd name="T20" fmla="*/ 262 w 262"/>
                  <a:gd name="T21" fmla="*/ 166 h 187"/>
                  <a:gd name="T22" fmla="*/ 262 w 262"/>
                  <a:gd name="T23" fmla="*/ 75 h 187"/>
                  <a:gd name="T24" fmla="*/ 242 w 262"/>
                  <a:gd name="T25" fmla="*/ 75 h 187"/>
                  <a:gd name="T26" fmla="*/ 242 w 262"/>
                  <a:gd name="T27" fmla="*/ 171 h 187"/>
                  <a:gd name="T28" fmla="*/ 20 w 262"/>
                  <a:gd name="T29" fmla="*/ 171 h 187"/>
                  <a:gd name="T30" fmla="*/ 20 w 262"/>
                  <a:gd name="T31" fmla="*/ 16 h 187"/>
                  <a:gd name="T32" fmla="*/ 137 w 262"/>
                  <a:gd name="T33" fmla="*/ 16 h 187"/>
                  <a:gd name="T34" fmla="*/ 140 w 262"/>
                  <a:gd name="T35" fmla="*/ 0 h 187"/>
                  <a:gd name="T36" fmla="*/ 21 w 262"/>
                  <a:gd name="T37" fmla="*/ 0 h 187"/>
                  <a:gd name="T38" fmla="*/ 0 w 262"/>
                  <a:gd name="T39" fmla="*/ 21 h 187"/>
                  <a:gd name="T40" fmla="*/ 0 w 262"/>
                  <a:gd name="T41" fmla="*/ 166 h 187"/>
                  <a:gd name="T42" fmla="*/ 21 w 262"/>
                  <a:gd name="T43" fmla="*/ 187 h 187"/>
                  <a:gd name="T44" fmla="*/ 241 w 262"/>
                  <a:gd name="T45" fmla="*/ 187 h 187"/>
                  <a:gd name="T46" fmla="*/ 262 w 262"/>
                  <a:gd name="T47" fmla="*/ 16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187">
                    <a:moveTo>
                      <a:pt x="258" y="94"/>
                    </a:moveTo>
                    <a:cubicBezTo>
                      <a:pt x="258" y="97"/>
                      <a:pt x="256" y="100"/>
                      <a:pt x="252" y="100"/>
                    </a:cubicBezTo>
                    <a:cubicBezTo>
                      <a:pt x="249" y="100"/>
                      <a:pt x="246" y="97"/>
                      <a:pt x="246" y="94"/>
                    </a:cubicBezTo>
                    <a:cubicBezTo>
                      <a:pt x="246" y="90"/>
                      <a:pt x="249" y="87"/>
                      <a:pt x="252" y="87"/>
                    </a:cubicBezTo>
                    <a:cubicBezTo>
                      <a:pt x="256" y="87"/>
                      <a:pt x="258" y="90"/>
                      <a:pt x="258" y="94"/>
                    </a:cubicBezTo>
                    <a:moveTo>
                      <a:pt x="12" y="94"/>
                    </a:moveTo>
                    <a:cubicBezTo>
                      <a:pt x="12" y="95"/>
                      <a:pt x="11" y="96"/>
                      <a:pt x="9" y="96"/>
                    </a:cubicBezTo>
                    <a:cubicBezTo>
                      <a:pt x="8" y="96"/>
                      <a:pt x="7" y="95"/>
                      <a:pt x="7" y="94"/>
                    </a:cubicBezTo>
                    <a:cubicBezTo>
                      <a:pt x="7" y="92"/>
                      <a:pt x="8" y="91"/>
                      <a:pt x="9" y="91"/>
                    </a:cubicBezTo>
                    <a:cubicBezTo>
                      <a:pt x="11" y="91"/>
                      <a:pt x="12" y="92"/>
                      <a:pt x="12" y="94"/>
                    </a:cubicBezTo>
                    <a:moveTo>
                      <a:pt x="262" y="166"/>
                    </a:moveTo>
                    <a:cubicBezTo>
                      <a:pt x="262" y="75"/>
                      <a:pt x="262" y="75"/>
                      <a:pt x="262" y="75"/>
                    </a:cubicBezTo>
                    <a:cubicBezTo>
                      <a:pt x="242" y="75"/>
                      <a:pt x="242" y="75"/>
                      <a:pt x="242" y="75"/>
                    </a:cubicBezTo>
                    <a:cubicBezTo>
                      <a:pt x="242" y="171"/>
                      <a:pt x="242" y="171"/>
                      <a:pt x="242" y="171"/>
                    </a:cubicBezTo>
                    <a:cubicBezTo>
                      <a:pt x="20" y="171"/>
                      <a:pt x="20" y="171"/>
                      <a:pt x="20" y="171"/>
                    </a:cubicBezTo>
                    <a:cubicBezTo>
                      <a:pt x="20" y="16"/>
                      <a:pt x="20" y="16"/>
                      <a:pt x="20" y="16"/>
                    </a:cubicBezTo>
                    <a:cubicBezTo>
                      <a:pt x="137" y="16"/>
                      <a:pt x="137" y="16"/>
                      <a:pt x="137" y="16"/>
                    </a:cubicBezTo>
                    <a:cubicBezTo>
                      <a:pt x="137" y="10"/>
                      <a:pt x="137" y="5"/>
                      <a:pt x="140" y="0"/>
                    </a:cubicBezTo>
                    <a:cubicBezTo>
                      <a:pt x="21" y="0"/>
                      <a:pt x="21" y="0"/>
                      <a:pt x="21" y="0"/>
                    </a:cubicBezTo>
                    <a:cubicBezTo>
                      <a:pt x="21" y="0"/>
                      <a:pt x="0" y="0"/>
                      <a:pt x="0" y="21"/>
                    </a:cubicBezTo>
                    <a:cubicBezTo>
                      <a:pt x="0" y="166"/>
                      <a:pt x="0" y="166"/>
                      <a:pt x="0" y="166"/>
                    </a:cubicBezTo>
                    <a:cubicBezTo>
                      <a:pt x="0" y="166"/>
                      <a:pt x="0" y="187"/>
                      <a:pt x="21" y="187"/>
                    </a:cubicBezTo>
                    <a:cubicBezTo>
                      <a:pt x="241" y="187"/>
                      <a:pt x="241" y="187"/>
                      <a:pt x="241" y="187"/>
                    </a:cubicBezTo>
                    <a:cubicBezTo>
                      <a:pt x="241" y="187"/>
                      <a:pt x="262" y="187"/>
                      <a:pt x="262" y="166"/>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 name="Freeform 18">
                <a:extLst>
                  <a:ext uri="{FF2B5EF4-FFF2-40B4-BE49-F238E27FC236}">
                    <a16:creationId xmlns:a16="http://schemas.microsoft.com/office/drawing/2014/main" xmlns="" id="{A426A95B-328F-487C-BC74-4CF33E52F9FC}"/>
                  </a:ext>
                </a:extLst>
              </p:cNvPr>
              <p:cNvSpPr>
                <a:spLocks/>
              </p:cNvSpPr>
              <p:nvPr/>
            </p:nvSpPr>
            <p:spPr bwMode="auto">
              <a:xfrm>
                <a:off x="9615488" y="6019800"/>
                <a:ext cx="479425" cy="238125"/>
              </a:xfrm>
              <a:custGeom>
                <a:avLst/>
                <a:gdLst>
                  <a:gd name="T0" fmla="*/ 0 w 209"/>
                  <a:gd name="T1" fmla="*/ 78 h 104"/>
                  <a:gd name="T2" fmla="*/ 27 w 209"/>
                  <a:gd name="T3" fmla="*/ 51 h 104"/>
                  <a:gd name="T4" fmla="*/ 31 w 209"/>
                  <a:gd name="T5" fmla="*/ 51 h 104"/>
                  <a:gd name="T6" fmla="*/ 31 w 209"/>
                  <a:gd name="T7" fmla="*/ 47 h 104"/>
                  <a:gd name="T8" fmla="*/ 64 w 209"/>
                  <a:gd name="T9" fmla="*/ 14 h 104"/>
                  <a:gd name="T10" fmla="*/ 86 w 209"/>
                  <a:gd name="T11" fmla="*/ 23 h 104"/>
                  <a:gd name="T12" fmla="*/ 123 w 209"/>
                  <a:gd name="T13" fmla="*/ 0 h 104"/>
                  <a:gd name="T14" fmla="*/ 163 w 209"/>
                  <a:gd name="T15" fmla="*/ 38 h 104"/>
                  <a:gd name="T16" fmla="*/ 175 w 209"/>
                  <a:gd name="T17" fmla="*/ 35 h 104"/>
                  <a:gd name="T18" fmla="*/ 209 w 209"/>
                  <a:gd name="T19" fmla="*/ 70 h 104"/>
                  <a:gd name="T20" fmla="*/ 178 w 209"/>
                  <a:gd name="T21" fmla="*/ 104 h 104"/>
                  <a:gd name="T22" fmla="*/ 178 w 209"/>
                  <a:gd name="T23" fmla="*/ 104 h 104"/>
                  <a:gd name="T24" fmla="*/ 178 w 209"/>
                  <a:gd name="T25" fmla="*/ 104 h 104"/>
                  <a:gd name="T26" fmla="*/ 175 w 209"/>
                  <a:gd name="T27" fmla="*/ 104 h 104"/>
                  <a:gd name="T28" fmla="*/ 172 w 209"/>
                  <a:gd name="T29" fmla="*/ 104 h 104"/>
                  <a:gd name="T30" fmla="*/ 26 w 209"/>
                  <a:gd name="T31" fmla="*/ 104 h 104"/>
                  <a:gd name="T32" fmla="*/ 26 w 209"/>
                  <a:gd name="T33" fmla="*/ 104 h 104"/>
                  <a:gd name="T34" fmla="*/ 0 w 209"/>
                  <a:gd name="T35"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104">
                    <a:moveTo>
                      <a:pt x="0" y="78"/>
                    </a:moveTo>
                    <a:cubicBezTo>
                      <a:pt x="0" y="63"/>
                      <a:pt x="12" y="51"/>
                      <a:pt x="27" y="51"/>
                    </a:cubicBezTo>
                    <a:cubicBezTo>
                      <a:pt x="28" y="51"/>
                      <a:pt x="30" y="51"/>
                      <a:pt x="31" y="51"/>
                    </a:cubicBezTo>
                    <a:cubicBezTo>
                      <a:pt x="31" y="50"/>
                      <a:pt x="31" y="49"/>
                      <a:pt x="31" y="47"/>
                    </a:cubicBezTo>
                    <a:cubicBezTo>
                      <a:pt x="31" y="29"/>
                      <a:pt x="46" y="14"/>
                      <a:pt x="64" y="14"/>
                    </a:cubicBezTo>
                    <a:cubicBezTo>
                      <a:pt x="73" y="14"/>
                      <a:pt x="81" y="18"/>
                      <a:pt x="86" y="23"/>
                    </a:cubicBezTo>
                    <a:cubicBezTo>
                      <a:pt x="93" y="10"/>
                      <a:pt x="107" y="0"/>
                      <a:pt x="123" y="0"/>
                    </a:cubicBezTo>
                    <a:cubicBezTo>
                      <a:pt x="144" y="0"/>
                      <a:pt x="162" y="17"/>
                      <a:pt x="163" y="38"/>
                    </a:cubicBezTo>
                    <a:cubicBezTo>
                      <a:pt x="167" y="36"/>
                      <a:pt x="171" y="35"/>
                      <a:pt x="175" y="35"/>
                    </a:cubicBezTo>
                    <a:cubicBezTo>
                      <a:pt x="194" y="35"/>
                      <a:pt x="209" y="51"/>
                      <a:pt x="209" y="70"/>
                    </a:cubicBezTo>
                    <a:cubicBezTo>
                      <a:pt x="209" y="88"/>
                      <a:pt x="195" y="103"/>
                      <a:pt x="178" y="104"/>
                    </a:cubicBezTo>
                    <a:cubicBezTo>
                      <a:pt x="178" y="104"/>
                      <a:pt x="178" y="104"/>
                      <a:pt x="178" y="104"/>
                    </a:cubicBezTo>
                    <a:cubicBezTo>
                      <a:pt x="178" y="104"/>
                      <a:pt x="178" y="104"/>
                      <a:pt x="178" y="104"/>
                    </a:cubicBezTo>
                    <a:cubicBezTo>
                      <a:pt x="177" y="104"/>
                      <a:pt x="176" y="104"/>
                      <a:pt x="175" y="104"/>
                    </a:cubicBezTo>
                    <a:cubicBezTo>
                      <a:pt x="174" y="104"/>
                      <a:pt x="173" y="104"/>
                      <a:pt x="172" y="104"/>
                    </a:cubicBezTo>
                    <a:cubicBezTo>
                      <a:pt x="26" y="104"/>
                      <a:pt x="26" y="104"/>
                      <a:pt x="26" y="104"/>
                    </a:cubicBezTo>
                    <a:cubicBezTo>
                      <a:pt x="26" y="104"/>
                      <a:pt x="26" y="104"/>
                      <a:pt x="26" y="104"/>
                    </a:cubicBezTo>
                    <a:cubicBezTo>
                      <a:pt x="12" y="103"/>
                      <a:pt x="0" y="92"/>
                      <a:pt x="0" y="78"/>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19">
                <a:extLst>
                  <a:ext uri="{FF2B5EF4-FFF2-40B4-BE49-F238E27FC236}">
                    <a16:creationId xmlns:a16="http://schemas.microsoft.com/office/drawing/2014/main" xmlns="" id="{1176495A-E632-454D-AF69-38844F105788}"/>
                  </a:ext>
                </a:extLst>
              </p:cNvPr>
              <p:cNvSpPr>
                <a:spLocks/>
              </p:cNvSpPr>
              <p:nvPr/>
            </p:nvSpPr>
            <p:spPr bwMode="auto">
              <a:xfrm>
                <a:off x="9755188" y="5937250"/>
                <a:ext cx="307975" cy="158750"/>
              </a:xfrm>
              <a:custGeom>
                <a:avLst/>
                <a:gdLst>
                  <a:gd name="T0" fmla="*/ 131 w 134"/>
                  <a:gd name="T1" fmla="*/ 69 h 69"/>
                  <a:gd name="T2" fmla="*/ 134 w 134"/>
                  <a:gd name="T3" fmla="*/ 58 h 69"/>
                  <a:gd name="T4" fmla="*/ 110 w 134"/>
                  <a:gd name="T5" fmla="*/ 35 h 69"/>
                  <a:gd name="T6" fmla="*/ 109 w 134"/>
                  <a:gd name="T7" fmla="*/ 35 h 69"/>
                  <a:gd name="T8" fmla="*/ 73 w 134"/>
                  <a:gd name="T9" fmla="*/ 0 h 69"/>
                  <a:gd name="T10" fmla="*/ 41 w 134"/>
                  <a:gd name="T11" fmla="*/ 19 h 69"/>
                  <a:gd name="T12" fmla="*/ 30 w 134"/>
                  <a:gd name="T13" fmla="*/ 17 h 69"/>
                  <a:gd name="T14" fmla="*/ 0 w 134"/>
                  <a:gd name="T15" fmla="*/ 44 h 69"/>
                  <a:gd name="T16" fmla="*/ 3 w 134"/>
                  <a:gd name="T17" fmla="*/ 44 h 69"/>
                  <a:gd name="T18" fmla="*/ 24 w 134"/>
                  <a:gd name="T19" fmla="*/ 51 h 69"/>
                  <a:gd name="T20" fmla="*/ 62 w 134"/>
                  <a:gd name="T21" fmla="*/ 29 h 69"/>
                  <a:gd name="T22" fmla="*/ 105 w 134"/>
                  <a:gd name="T23" fmla="*/ 67 h 69"/>
                  <a:gd name="T24" fmla="*/ 117 w 134"/>
                  <a:gd name="T25" fmla="*/ 65 h 69"/>
                  <a:gd name="T26" fmla="*/ 131 w 134"/>
                  <a:gd name="T2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69">
                    <a:moveTo>
                      <a:pt x="131" y="69"/>
                    </a:moveTo>
                    <a:cubicBezTo>
                      <a:pt x="133" y="66"/>
                      <a:pt x="134" y="62"/>
                      <a:pt x="134" y="58"/>
                    </a:cubicBezTo>
                    <a:cubicBezTo>
                      <a:pt x="134" y="45"/>
                      <a:pt x="123" y="35"/>
                      <a:pt x="110" y="35"/>
                    </a:cubicBezTo>
                    <a:cubicBezTo>
                      <a:pt x="110" y="35"/>
                      <a:pt x="109" y="35"/>
                      <a:pt x="109" y="35"/>
                    </a:cubicBezTo>
                    <a:cubicBezTo>
                      <a:pt x="109" y="16"/>
                      <a:pt x="93" y="0"/>
                      <a:pt x="73" y="0"/>
                    </a:cubicBezTo>
                    <a:cubicBezTo>
                      <a:pt x="59" y="0"/>
                      <a:pt x="47" y="8"/>
                      <a:pt x="41" y="19"/>
                    </a:cubicBezTo>
                    <a:cubicBezTo>
                      <a:pt x="38" y="18"/>
                      <a:pt x="34" y="17"/>
                      <a:pt x="30" y="17"/>
                    </a:cubicBezTo>
                    <a:cubicBezTo>
                      <a:pt x="14" y="17"/>
                      <a:pt x="1" y="29"/>
                      <a:pt x="0" y="44"/>
                    </a:cubicBezTo>
                    <a:cubicBezTo>
                      <a:pt x="1" y="44"/>
                      <a:pt x="2" y="44"/>
                      <a:pt x="3" y="44"/>
                    </a:cubicBezTo>
                    <a:cubicBezTo>
                      <a:pt x="12" y="44"/>
                      <a:pt x="18" y="46"/>
                      <a:pt x="24" y="51"/>
                    </a:cubicBezTo>
                    <a:cubicBezTo>
                      <a:pt x="31" y="38"/>
                      <a:pt x="46" y="29"/>
                      <a:pt x="62" y="29"/>
                    </a:cubicBezTo>
                    <a:cubicBezTo>
                      <a:pt x="83" y="29"/>
                      <a:pt x="103" y="46"/>
                      <a:pt x="105" y="67"/>
                    </a:cubicBezTo>
                    <a:cubicBezTo>
                      <a:pt x="109" y="65"/>
                      <a:pt x="113" y="65"/>
                      <a:pt x="117" y="65"/>
                    </a:cubicBezTo>
                    <a:cubicBezTo>
                      <a:pt x="123" y="65"/>
                      <a:pt x="126" y="66"/>
                      <a:pt x="131"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20">
                <a:extLst>
                  <a:ext uri="{FF2B5EF4-FFF2-40B4-BE49-F238E27FC236}">
                    <a16:creationId xmlns:a16="http://schemas.microsoft.com/office/drawing/2014/main" xmlns="" id="{581D0BE0-E973-4EAD-BC20-E53A662400C9}"/>
                  </a:ext>
                </a:extLst>
              </p:cNvPr>
              <p:cNvSpPr>
                <a:spLocks/>
              </p:cNvSpPr>
              <p:nvPr/>
            </p:nvSpPr>
            <p:spPr bwMode="auto">
              <a:xfrm>
                <a:off x="9409113" y="6143625"/>
                <a:ext cx="485775" cy="338138"/>
              </a:xfrm>
              <a:custGeom>
                <a:avLst/>
                <a:gdLst>
                  <a:gd name="T0" fmla="*/ 95 w 212"/>
                  <a:gd name="T1" fmla="*/ 0 h 147"/>
                  <a:gd name="T2" fmla="*/ 0 w 212"/>
                  <a:gd name="T3" fmla="*/ 0 h 147"/>
                  <a:gd name="T4" fmla="*/ 0 w 212"/>
                  <a:gd name="T5" fmla="*/ 147 h 147"/>
                  <a:gd name="T6" fmla="*/ 212 w 212"/>
                  <a:gd name="T7" fmla="*/ 147 h 147"/>
                  <a:gd name="T8" fmla="*/ 212 w 212"/>
                  <a:gd name="T9" fmla="*/ 56 h 147"/>
                  <a:gd name="T10" fmla="*/ 110 w 212"/>
                  <a:gd name="T11" fmla="*/ 56 h 147"/>
                  <a:gd name="T12" fmla="*/ 88 w 212"/>
                  <a:gd name="T13" fmla="*/ 44 h 147"/>
                  <a:gd name="T14" fmla="*/ 82 w 212"/>
                  <a:gd name="T15" fmla="*/ 27 h 147"/>
                  <a:gd name="T16" fmla="*/ 86 w 212"/>
                  <a:gd name="T17" fmla="*/ 9 h 147"/>
                  <a:gd name="T18" fmla="*/ 95 w 212"/>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147">
                    <a:moveTo>
                      <a:pt x="95" y="0"/>
                    </a:moveTo>
                    <a:cubicBezTo>
                      <a:pt x="0" y="0"/>
                      <a:pt x="0" y="0"/>
                      <a:pt x="0" y="0"/>
                    </a:cubicBezTo>
                    <a:cubicBezTo>
                      <a:pt x="0" y="147"/>
                      <a:pt x="0" y="147"/>
                      <a:pt x="0" y="147"/>
                    </a:cubicBezTo>
                    <a:cubicBezTo>
                      <a:pt x="212" y="147"/>
                      <a:pt x="212" y="147"/>
                      <a:pt x="212" y="147"/>
                    </a:cubicBezTo>
                    <a:cubicBezTo>
                      <a:pt x="212" y="56"/>
                      <a:pt x="212" y="56"/>
                      <a:pt x="212" y="56"/>
                    </a:cubicBezTo>
                    <a:cubicBezTo>
                      <a:pt x="110" y="56"/>
                      <a:pt x="110" y="56"/>
                      <a:pt x="110" y="56"/>
                    </a:cubicBezTo>
                    <a:cubicBezTo>
                      <a:pt x="101" y="56"/>
                      <a:pt x="92" y="51"/>
                      <a:pt x="88" y="44"/>
                    </a:cubicBezTo>
                    <a:cubicBezTo>
                      <a:pt x="85" y="40"/>
                      <a:pt x="82" y="34"/>
                      <a:pt x="82" y="27"/>
                    </a:cubicBezTo>
                    <a:cubicBezTo>
                      <a:pt x="81" y="20"/>
                      <a:pt x="83" y="15"/>
                      <a:pt x="86" y="9"/>
                    </a:cubicBezTo>
                    <a:cubicBezTo>
                      <a:pt x="89" y="3"/>
                      <a:pt x="93" y="1"/>
                      <a:pt x="95" y="0"/>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4" name="Freeform 24">
              <a:extLst>
                <a:ext uri="{FF2B5EF4-FFF2-40B4-BE49-F238E27FC236}">
                  <a16:creationId xmlns:a16="http://schemas.microsoft.com/office/drawing/2014/main" xmlns="" id="{DD9109E7-7149-4C00-97D3-17EC3C2892CB}"/>
                </a:ext>
              </a:extLst>
            </p:cNvPr>
            <p:cNvSpPr>
              <a:spLocks noEditPoints="1"/>
            </p:cNvSpPr>
            <p:nvPr/>
          </p:nvSpPr>
          <p:spPr bwMode="auto">
            <a:xfrm>
              <a:off x="8052054" y="4518123"/>
              <a:ext cx="301461" cy="486696"/>
            </a:xfrm>
            <a:custGeom>
              <a:avLst/>
              <a:gdLst>
                <a:gd name="T0" fmla="*/ 246 w 403"/>
                <a:gd name="T1" fmla="*/ 653 h 653"/>
                <a:gd name="T2" fmla="*/ 246 w 403"/>
                <a:gd name="T3" fmla="*/ 549 h 653"/>
                <a:gd name="T4" fmla="*/ 149 w 403"/>
                <a:gd name="T5" fmla="*/ 65 h 653"/>
                <a:gd name="T6" fmla="*/ 49 w 403"/>
                <a:gd name="T7" fmla="*/ 65 h 653"/>
                <a:gd name="T8" fmla="*/ 149 w 403"/>
                <a:gd name="T9" fmla="*/ 65 h 653"/>
                <a:gd name="T10" fmla="*/ 331 w 403"/>
                <a:gd name="T11" fmla="*/ 278 h 653"/>
                <a:gd name="T12" fmla="*/ 331 w 403"/>
                <a:gd name="T13" fmla="*/ 370 h 653"/>
                <a:gd name="T14" fmla="*/ 403 w 403"/>
                <a:gd name="T15" fmla="*/ 503 h 653"/>
                <a:gd name="T16" fmla="*/ 360 w 403"/>
                <a:gd name="T17" fmla="*/ 370 h 653"/>
                <a:gd name="T18" fmla="*/ 331 w 403"/>
                <a:gd name="T19" fmla="*/ 386 h 653"/>
                <a:gd name="T20" fmla="*/ 301 w 403"/>
                <a:gd name="T21" fmla="*/ 370 h 653"/>
                <a:gd name="T22" fmla="*/ 217 w 403"/>
                <a:gd name="T23" fmla="*/ 402 h 653"/>
                <a:gd name="T24" fmla="*/ 141 w 403"/>
                <a:gd name="T25" fmla="*/ 129 h 653"/>
                <a:gd name="T26" fmla="*/ 99 w 403"/>
                <a:gd name="T27" fmla="*/ 151 h 653"/>
                <a:gd name="T28" fmla="*/ 57 w 403"/>
                <a:gd name="T29" fmla="*/ 129 h 653"/>
                <a:gd name="T30" fmla="*/ 0 w 403"/>
                <a:gd name="T31" fmla="*/ 406 h 653"/>
                <a:gd name="T32" fmla="*/ 17 w 403"/>
                <a:gd name="T33" fmla="*/ 418 h 653"/>
                <a:gd name="T34" fmla="*/ 29 w 403"/>
                <a:gd name="T35" fmla="*/ 378 h 653"/>
                <a:gd name="T36" fmla="*/ 51 w 403"/>
                <a:gd name="T37" fmla="*/ 390 h 653"/>
                <a:gd name="T38" fmla="*/ 67 w 403"/>
                <a:gd name="T39" fmla="*/ 653 h 653"/>
                <a:gd name="T40" fmla="*/ 89 w 403"/>
                <a:gd name="T41" fmla="*/ 629 h 653"/>
                <a:gd name="T42" fmla="*/ 89 w 403"/>
                <a:gd name="T43" fmla="*/ 385 h 653"/>
                <a:gd name="T44" fmla="*/ 109 w 403"/>
                <a:gd name="T45" fmla="*/ 390 h 653"/>
                <a:gd name="T46" fmla="*/ 125 w 403"/>
                <a:gd name="T47" fmla="*/ 653 h 653"/>
                <a:gd name="T48" fmla="*/ 147 w 403"/>
                <a:gd name="T49" fmla="*/ 629 h 653"/>
                <a:gd name="T50" fmla="*/ 145 w 403"/>
                <a:gd name="T51" fmla="*/ 382 h 653"/>
                <a:gd name="T52" fmla="*/ 170 w 403"/>
                <a:gd name="T53" fmla="*/ 296 h 653"/>
                <a:gd name="T54" fmla="*/ 200 w 403"/>
                <a:gd name="T55" fmla="*/ 418 h 653"/>
                <a:gd name="T56" fmla="*/ 203 w 403"/>
                <a:gd name="T57" fmla="*/ 418 h 653"/>
                <a:gd name="T58" fmla="*/ 290 w 403"/>
                <a:gd name="T59" fmla="*/ 432 h 653"/>
                <a:gd name="T60" fmla="*/ 305 w 403"/>
                <a:gd name="T61" fmla="*/ 541 h 653"/>
                <a:gd name="T62" fmla="*/ 313 w 403"/>
                <a:gd name="T63" fmla="*/ 653 h 653"/>
                <a:gd name="T64" fmla="*/ 326 w 403"/>
                <a:gd name="T65" fmla="*/ 636 h 653"/>
                <a:gd name="T66" fmla="*/ 335 w 403"/>
                <a:gd name="T67" fmla="*/ 541 h 653"/>
                <a:gd name="T68" fmla="*/ 346 w 403"/>
                <a:gd name="T69" fmla="*/ 653 h 653"/>
                <a:gd name="T70" fmla="*/ 356 w 403"/>
                <a:gd name="T71" fmla="*/ 636 h 653"/>
                <a:gd name="T72" fmla="*/ 380 w 403"/>
                <a:gd name="T73" fmla="*/ 529 h 653"/>
                <a:gd name="T74" fmla="*/ 372 w 403"/>
                <a:gd name="T75" fmla="*/ 445 h 653"/>
                <a:gd name="T76" fmla="*/ 395 w 403"/>
                <a:gd name="T77" fmla="*/ 517 h 653"/>
                <a:gd name="T78" fmla="*/ 403 w 403"/>
                <a:gd name="T79" fmla="*/ 50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3" h="653">
                  <a:moveTo>
                    <a:pt x="194" y="601"/>
                  </a:moveTo>
                  <a:cubicBezTo>
                    <a:pt x="194" y="630"/>
                    <a:pt x="217" y="653"/>
                    <a:pt x="246" y="653"/>
                  </a:cubicBezTo>
                  <a:cubicBezTo>
                    <a:pt x="275" y="653"/>
                    <a:pt x="298" y="630"/>
                    <a:pt x="298" y="601"/>
                  </a:cubicBezTo>
                  <a:cubicBezTo>
                    <a:pt x="298" y="572"/>
                    <a:pt x="275" y="549"/>
                    <a:pt x="246" y="549"/>
                  </a:cubicBezTo>
                  <a:cubicBezTo>
                    <a:pt x="217" y="549"/>
                    <a:pt x="194" y="572"/>
                    <a:pt x="194" y="601"/>
                  </a:cubicBezTo>
                  <a:moveTo>
                    <a:pt x="149" y="65"/>
                  </a:moveTo>
                  <a:cubicBezTo>
                    <a:pt x="149" y="29"/>
                    <a:pt x="127" y="0"/>
                    <a:pt x="99" y="0"/>
                  </a:cubicBezTo>
                  <a:cubicBezTo>
                    <a:pt x="71" y="0"/>
                    <a:pt x="49" y="29"/>
                    <a:pt x="49" y="65"/>
                  </a:cubicBezTo>
                  <a:cubicBezTo>
                    <a:pt x="49" y="100"/>
                    <a:pt x="71" y="129"/>
                    <a:pt x="99" y="129"/>
                  </a:cubicBezTo>
                  <a:cubicBezTo>
                    <a:pt x="127" y="129"/>
                    <a:pt x="149" y="100"/>
                    <a:pt x="149" y="65"/>
                  </a:cubicBezTo>
                  <a:moveTo>
                    <a:pt x="366" y="324"/>
                  </a:moveTo>
                  <a:cubicBezTo>
                    <a:pt x="366" y="299"/>
                    <a:pt x="350" y="278"/>
                    <a:pt x="331" y="278"/>
                  </a:cubicBezTo>
                  <a:cubicBezTo>
                    <a:pt x="311" y="278"/>
                    <a:pt x="295" y="299"/>
                    <a:pt x="295" y="324"/>
                  </a:cubicBezTo>
                  <a:cubicBezTo>
                    <a:pt x="295" y="350"/>
                    <a:pt x="311" y="370"/>
                    <a:pt x="331" y="370"/>
                  </a:cubicBezTo>
                  <a:cubicBezTo>
                    <a:pt x="350" y="370"/>
                    <a:pt x="366" y="350"/>
                    <a:pt x="366" y="324"/>
                  </a:cubicBezTo>
                  <a:moveTo>
                    <a:pt x="403" y="503"/>
                  </a:moveTo>
                  <a:cubicBezTo>
                    <a:pt x="387" y="399"/>
                    <a:pt x="387" y="399"/>
                    <a:pt x="387" y="399"/>
                  </a:cubicBezTo>
                  <a:cubicBezTo>
                    <a:pt x="387" y="389"/>
                    <a:pt x="376" y="370"/>
                    <a:pt x="360" y="370"/>
                  </a:cubicBezTo>
                  <a:cubicBezTo>
                    <a:pt x="360" y="370"/>
                    <a:pt x="360" y="370"/>
                    <a:pt x="360" y="370"/>
                  </a:cubicBezTo>
                  <a:cubicBezTo>
                    <a:pt x="352" y="380"/>
                    <a:pt x="342" y="386"/>
                    <a:pt x="331" y="386"/>
                  </a:cubicBezTo>
                  <a:cubicBezTo>
                    <a:pt x="327" y="386"/>
                    <a:pt x="309" y="380"/>
                    <a:pt x="301" y="370"/>
                  </a:cubicBezTo>
                  <a:cubicBezTo>
                    <a:pt x="301" y="370"/>
                    <a:pt x="301" y="370"/>
                    <a:pt x="301" y="370"/>
                  </a:cubicBezTo>
                  <a:cubicBezTo>
                    <a:pt x="301" y="370"/>
                    <a:pt x="292" y="384"/>
                    <a:pt x="272" y="396"/>
                  </a:cubicBezTo>
                  <a:cubicBezTo>
                    <a:pt x="272" y="396"/>
                    <a:pt x="255" y="407"/>
                    <a:pt x="217" y="402"/>
                  </a:cubicBezTo>
                  <a:cubicBezTo>
                    <a:pt x="192" y="159"/>
                    <a:pt x="192" y="159"/>
                    <a:pt x="192" y="159"/>
                  </a:cubicBezTo>
                  <a:cubicBezTo>
                    <a:pt x="191" y="144"/>
                    <a:pt x="164" y="129"/>
                    <a:pt x="141" y="129"/>
                  </a:cubicBezTo>
                  <a:cubicBezTo>
                    <a:pt x="140" y="129"/>
                    <a:pt x="140" y="129"/>
                    <a:pt x="140" y="129"/>
                  </a:cubicBezTo>
                  <a:cubicBezTo>
                    <a:pt x="130" y="143"/>
                    <a:pt x="115" y="151"/>
                    <a:pt x="99" y="151"/>
                  </a:cubicBezTo>
                  <a:cubicBezTo>
                    <a:pt x="83" y="151"/>
                    <a:pt x="68" y="143"/>
                    <a:pt x="58" y="129"/>
                  </a:cubicBezTo>
                  <a:cubicBezTo>
                    <a:pt x="57" y="129"/>
                    <a:pt x="57" y="129"/>
                    <a:pt x="57" y="129"/>
                  </a:cubicBezTo>
                  <a:cubicBezTo>
                    <a:pt x="57" y="129"/>
                    <a:pt x="6" y="139"/>
                    <a:pt x="6" y="159"/>
                  </a:cubicBezTo>
                  <a:cubicBezTo>
                    <a:pt x="0" y="406"/>
                    <a:pt x="0" y="406"/>
                    <a:pt x="0" y="406"/>
                  </a:cubicBezTo>
                  <a:cubicBezTo>
                    <a:pt x="0" y="406"/>
                    <a:pt x="0" y="418"/>
                    <a:pt x="12" y="418"/>
                  </a:cubicBezTo>
                  <a:cubicBezTo>
                    <a:pt x="17" y="418"/>
                    <a:pt x="17" y="418"/>
                    <a:pt x="17" y="418"/>
                  </a:cubicBezTo>
                  <a:cubicBezTo>
                    <a:pt x="17" y="418"/>
                    <a:pt x="29" y="418"/>
                    <a:pt x="29" y="406"/>
                  </a:cubicBezTo>
                  <a:cubicBezTo>
                    <a:pt x="29" y="378"/>
                    <a:pt x="29" y="378"/>
                    <a:pt x="29" y="378"/>
                  </a:cubicBezTo>
                  <a:cubicBezTo>
                    <a:pt x="32" y="380"/>
                    <a:pt x="48" y="382"/>
                    <a:pt x="52" y="383"/>
                  </a:cubicBezTo>
                  <a:cubicBezTo>
                    <a:pt x="51" y="385"/>
                    <a:pt x="51" y="387"/>
                    <a:pt x="51" y="390"/>
                  </a:cubicBezTo>
                  <a:cubicBezTo>
                    <a:pt x="51" y="629"/>
                    <a:pt x="51" y="629"/>
                    <a:pt x="51" y="629"/>
                  </a:cubicBezTo>
                  <a:cubicBezTo>
                    <a:pt x="51" y="629"/>
                    <a:pt x="51" y="653"/>
                    <a:pt x="67" y="653"/>
                  </a:cubicBezTo>
                  <a:cubicBezTo>
                    <a:pt x="73" y="653"/>
                    <a:pt x="73" y="653"/>
                    <a:pt x="73" y="653"/>
                  </a:cubicBezTo>
                  <a:cubicBezTo>
                    <a:pt x="73" y="653"/>
                    <a:pt x="89" y="653"/>
                    <a:pt x="89" y="629"/>
                  </a:cubicBezTo>
                  <a:cubicBezTo>
                    <a:pt x="89" y="390"/>
                    <a:pt x="89" y="390"/>
                    <a:pt x="89" y="390"/>
                  </a:cubicBezTo>
                  <a:cubicBezTo>
                    <a:pt x="89" y="390"/>
                    <a:pt x="89" y="388"/>
                    <a:pt x="89" y="385"/>
                  </a:cubicBezTo>
                  <a:cubicBezTo>
                    <a:pt x="109" y="385"/>
                    <a:pt x="109" y="385"/>
                    <a:pt x="109" y="385"/>
                  </a:cubicBezTo>
                  <a:cubicBezTo>
                    <a:pt x="109" y="387"/>
                    <a:pt x="109" y="388"/>
                    <a:pt x="109" y="390"/>
                  </a:cubicBezTo>
                  <a:cubicBezTo>
                    <a:pt x="109" y="629"/>
                    <a:pt x="109" y="629"/>
                    <a:pt x="109" y="629"/>
                  </a:cubicBezTo>
                  <a:cubicBezTo>
                    <a:pt x="109" y="629"/>
                    <a:pt x="109" y="653"/>
                    <a:pt x="125" y="653"/>
                  </a:cubicBezTo>
                  <a:cubicBezTo>
                    <a:pt x="131" y="653"/>
                    <a:pt x="131" y="653"/>
                    <a:pt x="131" y="653"/>
                  </a:cubicBezTo>
                  <a:cubicBezTo>
                    <a:pt x="131" y="653"/>
                    <a:pt x="147" y="653"/>
                    <a:pt x="147" y="629"/>
                  </a:cubicBezTo>
                  <a:cubicBezTo>
                    <a:pt x="147" y="390"/>
                    <a:pt x="147" y="390"/>
                    <a:pt x="147" y="390"/>
                  </a:cubicBezTo>
                  <a:cubicBezTo>
                    <a:pt x="147" y="390"/>
                    <a:pt x="147" y="387"/>
                    <a:pt x="145" y="382"/>
                  </a:cubicBezTo>
                  <a:cubicBezTo>
                    <a:pt x="149" y="381"/>
                    <a:pt x="163" y="380"/>
                    <a:pt x="167" y="378"/>
                  </a:cubicBezTo>
                  <a:cubicBezTo>
                    <a:pt x="170" y="296"/>
                    <a:pt x="170" y="296"/>
                    <a:pt x="170" y="296"/>
                  </a:cubicBezTo>
                  <a:cubicBezTo>
                    <a:pt x="170" y="296"/>
                    <a:pt x="188" y="404"/>
                    <a:pt x="189" y="408"/>
                  </a:cubicBezTo>
                  <a:cubicBezTo>
                    <a:pt x="190" y="416"/>
                    <a:pt x="197" y="418"/>
                    <a:pt x="200" y="418"/>
                  </a:cubicBezTo>
                  <a:cubicBezTo>
                    <a:pt x="202" y="418"/>
                    <a:pt x="202" y="418"/>
                    <a:pt x="202" y="418"/>
                  </a:cubicBezTo>
                  <a:cubicBezTo>
                    <a:pt x="203" y="418"/>
                    <a:pt x="203" y="418"/>
                    <a:pt x="203" y="418"/>
                  </a:cubicBezTo>
                  <a:cubicBezTo>
                    <a:pt x="203" y="418"/>
                    <a:pt x="219" y="422"/>
                    <a:pt x="240" y="427"/>
                  </a:cubicBezTo>
                  <a:cubicBezTo>
                    <a:pt x="240" y="427"/>
                    <a:pt x="276" y="432"/>
                    <a:pt x="290" y="432"/>
                  </a:cubicBezTo>
                  <a:cubicBezTo>
                    <a:pt x="281" y="529"/>
                    <a:pt x="281" y="529"/>
                    <a:pt x="281" y="529"/>
                  </a:cubicBezTo>
                  <a:cubicBezTo>
                    <a:pt x="305" y="541"/>
                    <a:pt x="305" y="541"/>
                    <a:pt x="305" y="541"/>
                  </a:cubicBezTo>
                  <a:cubicBezTo>
                    <a:pt x="305" y="636"/>
                    <a:pt x="305" y="636"/>
                    <a:pt x="305" y="636"/>
                  </a:cubicBezTo>
                  <a:cubicBezTo>
                    <a:pt x="305" y="636"/>
                    <a:pt x="302" y="653"/>
                    <a:pt x="313" y="653"/>
                  </a:cubicBezTo>
                  <a:cubicBezTo>
                    <a:pt x="318" y="653"/>
                    <a:pt x="318" y="653"/>
                    <a:pt x="318" y="653"/>
                  </a:cubicBezTo>
                  <a:cubicBezTo>
                    <a:pt x="318" y="653"/>
                    <a:pt x="326" y="653"/>
                    <a:pt x="326" y="636"/>
                  </a:cubicBezTo>
                  <a:cubicBezTo>
                    <a:pt x="326" y="541"/>
                    <a:pt x="326" y="541"/>
                    <a:pt x="326" y="541"/>
                  </a:cubicBezTo>
                  <a:cubicBezTo>
                    <a:pt x="335" y="541"/>
                    <a:pt x="335" y="541"/>
                    <a:pt x="335" y="541"/>
                  </a:cubicBezTo>
                  <a:cubicBezTo>
                    <a:pt x="335" y="636"/>
                    <a:pt x="335" y="636"/>
                    <a:pt x="335" y="636"/>
                  </a:cubicBezTo>
                  <a:cubicBezTo>
                    <a:pt x="335" y="636"/>
                    <a:pt x="335" y="653"/>
                    <a:pt x="346" y="653"/>
                  </a:cubicBezTo>
                  <a:cubicBezTo>
                    <a:pt x="351" y="653"/>
                    <a:pt x="351" y="653"/>
                    <a:pt x="351" y="653"/>
                  </a:cubicBezTo>
                  <a:cubicBezTo>
                    <a:pt x="351" y="653"/>
                    <a:pt x="356" y="653"/>
                    <a:pt x="356" y="636"/>
                  </a:cubicBezTo>
                  <a:cubicBezTo>
                    <a:pt x="356" y="541"/>
                    <a:pt x="356" y="541"/>
                    <a:pt x="356" y="541"/>
                  </a:cubicBezTo>
                  <a:cubicBezTo>
                    <a:pt x="380" y="529"/>
                    <a:pt x="380" y="529"/>
                    <a:pt x="380" y="529"/>
                  </a:cubicBezTo>
                  <a:cubicBezTo>
                    <a:pt x="371" y="446"/>
                    <a:pt x="371" y="446"/>
                    <a:pt x="371" y="446"/>
                  </a:cubicBezTo>
                  <a:cubicBezTo>
                    <a:pt x="371" y="445"/>
                    <a:pt x="372" y="445"/>
                    <a:pt x="372" y="445"/>
                  </a:cubicBezTo>
                  <a:cubicBezTo>
                    <a:pt x="385" y="509"/>
                    <a:pt x="385" y="509"/>
                    <a:pt x="385" y="509"/>
                  </a:cubicBezTo>
                  <a:cubicBezTo>
                    <a:pt x="385" y="509"/>
                    <a:pt x="387" y="517"/>
                    <a:pt x="395" y="517"/>
                  </a:cubicBezTo>
                  <a:cubicBezTo>
                    <a:pt x="399" y="516"/>
                    <a:pt x="399" y="516"/>
                    <a:pt x="399" y="516"/>
                  </a:cubicBezTo>
                  <a:cubicBezTo>
                    <a:pt x="399" y="516"/>
                    <a:pt x="403" y="512"/>
                    <a:pt x="403" y="50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28">
              <a:extLst>
                <a:ext uri="{FF2B5EF4-FFF2-40B4-BE49-F238E27FC236}">
                  <a16:creationId xmlns:a16="http://schemas.microsoft.com/office/drawing/2014/main" xmlns="" id="{FDA760FA-6AA1-4370-823A-F7B9810BE09C}"/>
                </a:ext>
              </a:extLst>
            </p:cNvPr>
            <p:cNvSpPr>
              <a:spLocks/>
            </p:cNvSpPr>
            <p:nvPr/>
          </p:nvSpPr>
          <p:spPr bwMode="auto">
            <a:xfrm>
              <a:off x="7646986" y="2150475"/>
              <a:ext cx="436172" cy="335323"/>
            </a:xfrm>
            <a:custGeom>
              <a:avLst/>
              <a:gdLst>
                <a:gd name="T0" fmla="*/ 645 w 692"/>
                <a:gd name="T1" fmla="*/ 503 h 532"/>
                <a:gd name="T2" fmla="*/ 645 w 692"/>
                <a:gd name="T3" fmla="*/ 0 h 532"/>
                <a:gd name="T4" fmla="*/ 527 w 692"/>
                <a:gd name="T5" fmla="*/ 0 h 532"/>
                <a:gd name="T6" fmla="*/ 527 w 692"/>
                <a:gd name="T7" fmla="*/ 503 h 532"/>
                <a:gd name="T8" fmla="*/ 487 w 692"/>
                <a:gd name="T9" fmla="*/ 503 h 532"/>
                <a:gd name="T10" fmla="*/ 487 w 692"/>
                <a:gd name="T11" fmla="*/ 164 h 532"/>
                <a:gd name="T12" fmla="*/ 369 w 692"/>
                <a:gd name="T13" fmla="*/ 164 h 532"/>
                <a:gd name="T14" fmla="*/ 369 w 692"/>
                <a:gd name="T15" fmla="*/ 503 h 532"/>
                <a:gd name="T16" fmla="*/ 328 w 692"/>
                <a:gd name="T17" fmla="*/ 503 h 532"/>
                <a:gd name="T18" fmla="*/ 328 w 692"/>
                <a:gd name="T19" fmla="*/ 262 h 532"/>
                <a:gd name="T20" fmla="*/ 211 w 692"/>
                <a:gd name="T21" fmla="*/ 262 h 532"/>
                <a:gd name="T22" fmla="*/ 211 w 692"/>
                <a:gd name="T23" fmla="*/ 503 h 532"/>
                <a:gd name="T24" fmla="*/ 166 w 692"/>
                <a:gd name="T25" fmla="*/ 503 h 532"/>
                <a:gd name="T26" fmla="*/ 166 w 692"/>
                <a:gd name="T27" fmla="*/ 311 h 532"/>
                <a:gd name="T28" fmla="*/ 48 w 692"/>
                <a:gd name="T29" fmla="*/ 311 h 532"/>
                <a:gd name="T30" fmla="*/ 48 w 692"/>
                <a:gd name="T31" fmla="*/ 503 h 532"/>
                <a:gd name="T32" fmla="*/ 0 w 692"/>
                <a:gd name="T33" fmla="*/ 503 h 532"/>
                <a:gd name="T34" fmla="*/ 0 w 692"/>
                <a:gd name="T35" fmla="*/ 532 h 532"/>
                <a:gd name="T36" fmla="*/ 692 w 692"/>
                <a:gd name="T37" fmla="*/ 532 h 532"/>
                <a:gd name="T38" fmla="*/ 692 w 692"/>
                <a:gd name="T39" fmla="*/ 503 h 532"/>
                <a:gd name="T40" fmla="*/ 645 w 692"/>
                <a:gd name="T41" fmla="*/ 503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2" h="532">
                  <a:moveTo>
                    <a:pt x="645" y="503"/>
                  </a:moveTo>
                  <a:lnTo>
                    <a:pt x="645" y="0"/>
                  </a:lnTo>
                  <a:lnTo>
                    <a:pt x="527" y="0"/>
                  </a:lnTo>
                  <a:lnTo>
                    <a:pt x="527" y="503"/>
                  </a:lnTo>
                  <a:lnTo>
                    <a:pt x="487" y="503"/>
                  </a:lnTo>
                  <a:lnTo>
                    <a:pt x="487" y="164"/>
                  </a:lnTo>
                  <a:lnTo>
                    <a:pt x="369" y="164"/>
                  </a:lnTo>
                  <a:lnTo>
                    <a:pt x="369" y="503"/>
                  </a:lnTo>
                  <a:lnTo>
                    <a:pt x="328" y="503"/>
                  </a:lnTo>
                  <a:lnTo>
                    <a:pt x="328" y="262"/>
                  </a:lnTo>
                  <a:lnTo>
                    <a:pt x="211" y="262"/>
                  </a:lnTo>
                  <a:lnTo>
                    <a:pt x="211" y="503"/>
                  </a:lnTo>
                  <a:lnTo>
                    <a:pt x="166" y="503"/>
                  </a:lnTo>
                  <a:lnTo>
                    <a:pt x="166" y="311"/>
                  </a:lnTo>
                  <a:lnTo>
                    <a:pt x="48" y="311"/>
                  </a:lnTo>
                  <a:lnTo>
                    <a:pt x="48" y="503"/>
                  </a:lnTo>
                  <a:lnTo>
                    <a:pt x="0" y="503"/>
                  </a:lnTo>
                  <a:lnTo>
                    <a:pt x="0" y="532"/>
                  </a:lnTo>
                  <a:lnTo>
                    <a:pt x="692" y="532"/>
                  </a:lnTo>
                  <a:lnTo>
                    <a:pt x="692" y="503"/>
                  </a:lnTo>
                  <a:lnTo>
                    <a:pt x="645" y="50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32">
              <a:extLst>
                <a:ext uri="{FF2B5EF4-FFF2-40B4-BE49-F238E27FC236}">
                  <a16:creationId xmlns:a16="http://schemas.microsoft.com/office/drawing/2014/main" xmlns="" id="{37F97D5A-4BE2-46BF-84FE-C4A938636AC7}"/>
                </a:ext>
              </a:extLst>
            </p:cNvPr>
            <p:cNvSpPr>
              <a:spLocks noEditPoints="1"/>
            </p:cNvSpPr>
            <p:nvPr/>
          </p:nvSpPr>
          <p:spPr bwMode="auto">
            <a:xfrm>
              <a:off x="3955565" y="2119332"/>
              <a:ext cx="453559" cy="397606"/>
            </a:xfrm>
            <a:custGeom>
              <a:avLst/>
              <a:gdLst>
                <a:gd name="T0" fmla="*/ 65 w 371"/>
                <a:gd name="T1" fmla="*/ 201 h 324"/>
                <a:gd name="T2" fmla="*/ 97 w 371"/>
                <a:gd name="T3" fmla="*/ 205 h 324"/>
                <a:gd name="T4" fmla="*/ 92 w 371"/>
                <a:gd name="T5" fmla="*/ 236 h 324"/>
                <a:gd name="T6" fmla="*/ 64 w 371"/>
                <a:gd name="T7" fmla="*/ 219 h 324"/>
                <a:gd name="T8" fmla="*/ 84 w 371"/>
                <a:gd name="T9" fmla="*/ 135 h 324"/>
                <a:gd name="T10" fmla="*/ 43 w 371"/>
                <a:gd name="T11" fmla="*/ 163 h 324"/>
                <a:gd name="T12" fmla="*/ 46 w 371"/>
                <a:gd name="T13" fmla="*/ 198 h 324"/>
                <a:gd name="T14" fmla="*/ 45 w 371"/>
                <a:gd name="T15" fmla="*/ 227 h 324"/>
                <a:gd name="T16" fmla="*/ 76 w 371"/>
                <a:gd name="T17" fmla="*/ 248 h 324"/>
                <a:gd name="T18" fmla="*/ 99 w 371"/>
                <a:gd name="T19" fmla="*/ 261 h 324"/>
                <a:gd name="T20" fmla="*/ 77 w 371"/>
                <a:gd name="T21" fmla="*/ 281 h 324"/>
                <a:gd name="T22" fmla="*/ 41 w 371"/>
                <a:gd name="T23" fmla="*/ 272 h 324"/>
                <a:gd name="T24" fmla="*/ 25 w 371"/>
                <a:gd name="T25" fmla="*/ 290 h 324"/>
                <a:gd name="T26" fmla="*/ 30 w 371"/>
                <a:gd name="T27" fmla="*/ 249 h 324"/>
                <a:gd name="T28" fmla="*/ 0 w 371"/>
                <a:gd name="T29" fmla="*/ 290 h 324"/>
                <a:gd name="T30" fmla="*/ 80 w 371"/>
                <a:gd name="T31" fmla="*/ 317 h 324"/>
                <a:gd name="T32" fmla="*/ 163 w 371"/>
                <a:gd name="T33" fmla="*/ 290 h 324"/>
                <a:gd name="T34" fmla="*/ 133 w 371"/>
                <a:gd name="T35" fmla="*/ 249 h 324"/>
                <a:gd name="T36" fmla="*/ 138 w 371"/>
                <a:gd name="T37" fmla="*/ 290 h 324"/>
                <a:gd name="T38" fmla="*/ 110 w 371"/>
                <a:gd name="T39" fmla="*/ 289 h 324"/>
                <a:gd name="T40" fmla="*/ 108 w 371"/>
                <a:gd name="T41" fmla="*/ 243 h 324"/>
                <a:gd name="T42" fmla="*/ 114 w 371"/>
                <a:gd name="T43" fmla="*/ 196 h 324"/>
                <a:gd name="T44" fmla="*/ 69 w 371"/>
                <a:gd name="T45" fmla="*/ 172 h 324"/>
                <a:gd name="T46" fmla="*/ 83 w 371"/>
                <a:gd name="T47" fmla="*/ 151 h 324"/>
                <a:gd name="T48" fmla="*/ 114 w 371"/>
                <a:gd name="T49" fmla="*/ 159 h 324"/>
                <a:gd name="T50" fmla="*/ 102 w 371"/>
                <a:gd name="T51" fmla="*/ 136 h 324"/>
                <a:gd name="T52" fmla="*/ 346 w 371"/>
                <a:gd name="T53" fmla="*/ 222 h 324"/>
                <a:gd name="T54" fmla="*/ 289 w 371"/>
                <a:gd name="T55" fmla="*/ 14 h 324"/>
                <a:gd name="T56" fmla="*/ 371 w 371"/>
                <a:gd name="T57" fmla="*/ 223 h 324"/>
                <a:gd name="T58" fmla="*/ 353 w 371"/>
                <a:gd name="T59" fmla="*/ 222 h 324"/>
                <a:gd name="T60" fmla="*/ 295 w 371"/>
                <a:gd name="T61" fmla="*/ 4 h 324"/>
                <a:gd name="T62" fmla="*/ 289 w 371"/>
                <a:gd name="T63" fmla="*/ 1 h 324"/>
                <a:gd name="T64" fmla="*/ 77 w 371"/>
                <a:gd name="T65" fmla="*/ 75 h 324"/>
                <a:gd name="T66" fmla="*/ 78 w 371"/>
                <a:gd name="T67" fmla="*/ 78 h 324"/>
                <a:gd name="T68" fmla="*/ 72 w 371"/>
                <a:gd name="T69" fmla="*/ 126 h 324"/>
                <a:gd name="T70" fmla="*/ 94 w 371"/>
                <a:gd name="T71" fmla="*/ 126 h 324"/>
                <a:gd name="T72" fmla="*/ 87 w 371"/>
                <a:gd name="T73" fmla="*/ 77 h 324"/>
                <a:gd name="T74" fmla="*/ 181 w 371"/>
                <a:gd name="T75" fmla="*/ 308 h 324"/>
                <a:gd name="T76" fmla="*/ 236 w 371"/>
                <a:gd name="T77" fmla="*/ 324 h 324"/>
                <a:gd name="T78" fmla="*/ 191 w 371"/>
                <a:gd name="T79" fmla="*/ 43 h 324"/>
                <a:gd name="T80" fmla="*/ 283 w 371"/>
                <a:gd name="T81" fmla="*/ 13 h 324"/>
                <a:gd name="T82" fmla="*/ 208 w 371"/>
                <a:gd name="T83" fmla="*/ 222 h 324"/>
                <a:gd name="T84" fmla="*/ 288 w 371"/>
                <a:gd name="T85" fmla="*/ 24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1" h="324">
                  <a:moveTo>
                    <a:pt x="61" y="211"/>
                  </a:moveTo>
                  <a:cubicBezTo>
                    <a:pt x="61" y="207"/>
                    <a:pt x="62" y="204"/>
                    <a:pt x="65" y="201"/>
                  </a:cubicBezTo>
                  <a:cubicBezTo>
                    <a:pt x="67" y="198"/>
                    <a:pt x="70" y="196"/>
                    <a:pt x="74" y="195"/>
                  </a:cubicBezTo>
                  <a:cubicBezTo>
                    <a:pt x="85" y="198"/>
                    <a:pt x="92" y="202"/>
                    <a:pt x="97" y="205"/>
                  </a:cubicBezTo>
                  <a:cubicBezTo>
                    <a:pt x="101" y="209"/>
                    <a:pt x="103" y="213"/>
                    <a:pt x="103" y="218"/>
                  </a:cubicBezTo>
                  <a:cubicBezTo>
                    <a:pt x="103" y="225"/>
                    <a:pt x="99" y="231"/>
                    <a:pt x="92" y="236"/>
                  </a:cubicBezTo>
                  <a:cubicBezTo>
                    <a:pt x="82" y="232"/>
                    <a:pt x="75" y="229"/>
                    <a:pt x="72" y="226"/>
                  </a:cubicBezTo>
                  <a:cubicBezTo>
                    <a:pt x="68" y="224"/>
                    <a:pt x="65" y="222"/>
                    <a:pt x="64" y="219"/>
                  </a:cubicBezTo>
                  <a:cubicBezTo>
                    <a:pt x="62" y="217"/>
                    <a:pt x="61" y="214"/>
                    <a:pt x="61" y="211"/>
                  </a:cubicBezTo>
                  <a:moveTo>
                    <a:pt x="84" y="135"/>
                  </a:moveTo>
                  <a:cubicBezTo>
                    <a:pt x="72" y="135"/>
                    <a:pt x="61" y="137"/>
                    <a:pt x="54" y="142"/>
                  </a:cubicBezTo>
                  <a:cubicBezTo>
                    <a:pt x="46" y="147"/>
                    <a:pt x="43" y="154"/>
                    <a:pt x="43" y="163"/>
                  </a:cubicBezTo>
                  <a:cubicBezTo>
                    <a:pt x="43" y="173"/>
                    <a:pt x="48" y="181"/>
                    <a:pt x="58" y="187"/>
                  </a:cubicBezTo>
                  <a:cubicBezTo>
                    <a:pt x="53" y="190"/>
                    <a:pt x="49" y="194"/>
                    <a:pt x="46" y="198"/>
                  </a:cubicBezTo>
                  <a:cubicBezTo>
                    <a:pt x="44" y="203"/>
                    <a:pt x="42" y="208"/>
                    <a:pt x="42" y="213"/>
                  </a:cubicBezTo>
                  <a:cubicBezTo>
                    <a:pt x="42" y="218"/>
                    <a:pt x="43" y="223"/>
                    <a:pt x="45" y="227"/>
                  </a:cubicBezTo>
                  <a:cubicBezTo>
                    <a:pt x="48" y="231"/>
                    <a:pt x="51" y="235"/>
                    <a:pt x="55" y="238"/>
                  </a:cubicBezTo>
                  <a:cubicBezTo>
                    <a:pt x="60" y="241"/>
                    <a:pt x="67" y="245"/>
                    <a:pt x="76" y="248"/>
                  </a:cubicBezTo>
                  <a:cubicBezTo>
                    <a:pt x="83" y="251"/>
                    <a:pt x="88" y="253"/>
                    <a:pt x="92" y="255"/>
                  </a:cubicBezTo>
                  <a:cubicBezTo>
                    <a:pt x="95" y="257"/>
                    <a:pt x="97" y="259"/>
                    <a:pt x="99" y="261"/>
                  </a:cubicBezTo>
                  <a:cubicBezTo>
                    <a:pt x="100" y="262"/>
                    <a:pt x="101" y="265"/>
                    <a:pt x="101" y="268"/>
                  </a:cubicBezTo>
                  <a:cubicBezTo>
                    <a:pt x="101" y="277"/>
                    <a:pt x="93" y="281"/>
                    <a:pt x="77" y="281"/>
                  </a:cubicBezTo>
                  <a:cubicBezTo>
                    <a:pt x="71" y="281"/>
                    <a:pt x="65" y="280"/>
                    <a:pt x="59" y="279"/>
                  </a:cubicBezTo>
                  <a:cubicBezTo>
                    <a:pt x="52" y="277"/>
                    <a:pt x="46" y="275"/>
                    <a:pt x="41" y="272"/>
                  </a:cubicBezTo>
                  <a:cubicBezTo>
                    <a:pt x="41" y="290"/>
                    <a:pt x="41" y="290"/>
                    <a:pt x="41" y="290"/>
                  </a:cubicBezTo>
                  <a:cubicBezTo>
                    <a:pt x="25" y="290"/>
                    <a:pt x="25" y="290"/>
                    <a:pt x="25" y="290"/>
                  </a:cubicBezTo>
                  <a:cubicBezTo>
                    <a:pt x="36" y="249"/>
                    <a:pt x="36" y="249"/>
                    <a:pt x="36" y="249"/>
                  </a:cubicBezTo>
                  <a:cubicBezTo>
                    <a:pt x="30" y="249"/>
                    <a:pt x="30" y="249"/>
                    <a:pt x="30" y="249"/>
                  </a:cubicBezTo>
                  <a:cubicBezTo>
                    <a:pt x="18" y="290"/>
                    <a:pt x="18" y="290"/>
                    <a:pt x="18" y="290"/>
                  </a:cubicBezTo>
                  <a:cubicBezTo>
                    <a:pt x="0" y="290"/>
                    <a:pt x="0" y="290"/>
                    <a:pt x="0" y="290"/>
                  </a:cubicBezTo>
                  <a:cubicBezTo>
                    <a:pt x="0" y="291"/>
                    <a:pt x="0" y="291"/>
                    <a:pt x="0" y="291"/>
                  </a:cubicBezTo>
                  <a:cubicBezTo>
                    <a:pt x="0" y="291"/>
                    <a:pt x="22" y="317"/>
                    <a:pt x="80" y="317"/>
                  </a:cubicBezTo>
                  <a:cubicBezTo>
                    <a:pt x="138" y="317"/>
                    <a:pt x="163" y="291"/>
                    <a:pt x="163" y="291"/>
                  </a:cubicBezTo>
                  <a:cubicBezTo>
                    <a:pt x="163" y="290"/>
                    <a:pt x="163" y="290"/>
                    <a:pt x="163" y="290"/>
                  </a:cubicBezTo>
                  <a:cubicBezTo>
                    <a:pt x="145" y="290"/>
                    <a:pt x="145" y="290"/>
                    <a:pt x="145" y="290"/>
                  </a:cubicBezTo>
                  <a:cubicBezTo>
                    <a:pt x="133" y="249"/>
                    <a:pt x="133" y="249"/>
                    <a:pt x="133" y="249"/>
                  </a:cubicBezTo>
                  <a:cubicBezTo>
                    <a:pt x="126" y="249"/>
                    <a:pt x="126" y="249"/>
                    <a:pt x="126" y="249"/>
                  </a:cubicBezTo>
                  <a:cubicBezTo>
                    <a:pt x="138" y="290"/>
                    <a:pt x="138" y="290"/>
                    <a:pt x="138" y="290"/>
                  </a:cubicBezTo>
                  <a:cubicBezTo>
                    <a:pt x="108" y="290"/>
                    <a:pt x="108" y="290"/>
                    <a:pt x="108" y="290"/>
                  </a:cubicBezTo>
                  <a:cubicBezTo>
                    <a:pt x="109" y="290"/>
                    <a:pt x="109" y="289"/>
                    <a:pt x="110" y="289"/>
                  </a:cubicBezTo>
                  <a:cubicBezTo>
                    <a:pt x="118" y="283"/>
                    <a:pt x="122" y="276"/>
                    <a:pt x="122" y="266"/>
                  </a:cubicBezTo>
                  <a:cubicBezTo>
                    <a:pt x="122" y="256"/>
                    <a:pt x="117" y="249"/>
                    <a:pt x="108" y="243"/>
                  </a:cubicBezTo>
                  <a:cubicBezTo>
                    <a:pt x="117" y="237"/>
                    <a:pt x="122" y="228"/>
                    <a:pt x="122" y="216"/>
                  </a:cubicBezTo>
                  <a:cubicBezTo>
                    <a:pt x="122" y="208"/>
                    <a:pt x="120" y="202"/>
                    <a:pt x="114" y="196"/>
                  </a:cubicBezTo>
                  <a:cubicBezTo>
                    <a:pt x="109" y="191"/>
                    <a:pt x="101" y="186"/>
                    <a:pt x="89" y="181"/>
                  </a:cubicBezTo>
                  <a:cubicBezTo>
                    <a:pt x="79" y="178"/>
                    <a:pt x="73" y="175"/>
                    <a:pt x="69" y="172"/>
                  </a:cubicBezTo>
                  <a:cubicBezTo>
                    <a:pt x="65" y="169"/>
                    <a:pt x="63" y="166"/>
                    <a:pt x="63" y="162"/>
                  </a:cubicBezTo>
                  <a:cubicBezTo>
                    <a:pt x="63" y="155"/>
                    <a:pt x="70" y="151"/>
                    <a:pt x="83" y="151"/>
                  </a:cubicBezTo>
                  <a:cubicBezTo>
                    <a:pt x="88" y="151"/>
                    <a:pt x="92" y="152"/>
                    <a:pt x="96" y="153"/>
                  </a:cubicBezTo>
                  <a:cubicBezTo>
                    <a:pt x="100" y="153"/>
                    <a:pt x="106" y="156"/>
                    <a:pt x="114" y="159"/>
                  </a:cubicBezTo>
                  <a:cubicBezTo>
                    <a:pt x="121" y="142"/>
                    <a:pt x="121" y="142"/>
                    <a:pt x="121" y="142"/>
                  </a:cubicBezTo>
                  <a:cubicBezTo>
                    <a:pt x="114" y="139"/>
                    <a:pt x="108" y="137"/>
                    <a:pt x="102" y="136"/>
                  </a:cubicBezTo>
                  <a:cubicBezTo>
                    <a:pt x="96" y="135"/>
                    <a:pt x="90" y="135"/>
                    <a:pt x="84" y="135"/>
                  </a:cubicBezTo>
                  <a:moveTo>
                    <a:pt x="346" y="222"/>
                  </a:moveTo>
                  <a:cubicBezTo>
                    <a:pt x="232" y="222"/>
                    <a:pt x="232" y="222"/>
                    <a:pt x="232" y="222"/>
                  </a:cubicBezTo>
                  <a:cubicBezTo>
                    <a:pt x="289" y="14"/>
                    <a:pt x="289" y="14"/>
                    <a:pt x="289" y="14"/>
                  </a:cubicBezTo>
                  <a:lnTo>
                    <a:pt x="346" y="222"/>
                  </a:lnTo>
                  <a:close/>
                  <a:moveTo>
                    <a:pt x="371" y="223"/>
                  </a:moveTo>
                  <a:cubicBezTo>
                    <a:pt x="371" y="222"/>
                    <a:pt x="371" y="222"/>
                    <a:pt x="371" y="222"/>
                  </a:cubicBezTo>
                  <a:cubicBezTo>
                    <a:pt x="353" y="222"/>
                    <a:pt x="353" y="222"/>
                    <a:pt x="353" y="222"/>
                  </a:cubicBezTo>
                  <a:cubicBezTo>
                    <a:pt x="295" y="9"/>
                    <a:pt x="295" y="9"/>
                    <a:pt x="295" y="9"/>
                  </a:cubicBezTo>
                  <a:cubicBezTo>
                    <a:pt x="295" y="8"/>
                    <a:pt x="296" y="6"/>
                    <a:pt x="295" y="4"/>
                  </a:cubicBezTo>
                  <a:cubicBezTo>
                    <a:pt x="295" y="4"/>
                    <a:pt x="295" y="4"/>
                    <a:pt x="295" y="4"/>
                  </a:cubicBezTo>
                  <a:cubicBezTo>
                    <a:pt x="295" y="4"/>
                    <a:pt x="294" y="0"/>
                    <a:pt x="289" y="1"/>
                  </a:cubicBezTo>
                  <a:cubicBezTo>
                    <a:pt x="79" y="69"/>
                    <a:pt x="79" y="69"/>
                    <a:pt x="79" y="69"/>
                  </a:cubicBezTo>
                  <a:cubicBezTo>
                    <a:pt x="79" y="69"/>
                    <a:pt x="75" y="71"/>
                    <a:pt x="77" y="75"/>
                  </a:cubicBezTo>
                  <a:cubicBezTo>
                    <a:pt x="77" y="75"/>
                    <a:pt x="77" y="75"/>
                    <a:pt x="77" y="75"/>
                  </a:cubicBezTo>
                  <a:cubicBezTo>
                    <a:pt x="77" y="75"/>
                    <a:pt x="77" y="77"/>
                    <a:pt x="78" y="78"/>
                  </a:cubicBezTo>
                  <a:cubicBezTo>
                    <a:pt x="65" y="126"/>
                    <a:pt x="65" y="126"/>
                    <a:pt x="65" y="126"/>
                  </a:cubicBezTo>
                  <a:cubicBezTo>
                    <a:pt x="72" y="126"/>
                    <a:pt x="72" y="126"/>
                    <a:pt x="72" y="126"/>
                  </a:cubicBezTo>
                  <a:cubicBezTo>
                    <a:pt x="83" y="85"/>
                    <a:pt x="83" y="85"/>
                    <a:pt x="83" y="85"/>
                  </a:cubicBezTo>
                  <a:cubicBezTo>
                    <a:pt x="94" y="126"/>
                    <a:pt x="94" y="126"/>
                    <a:pt x="94" y="126"/>
                  </a:cubicBezTo>
                  <a:cubicBezTo>
                    <a:pt x="101" y="126"/>
                    <a:pt x="101" y="126"/>
                    <a:pt x="101" y="126"/>
                  </a:cubicBezTo>
                  <a:cubicBezTo>
                    <a:pt x="87" y="77"/>
                    <a:pt x="87" y="77"/>
                    <a:pt x="87" y="77"/>
                  </a:cubicBezTo>
                  <a:cubicBezTo>
                    <a:pt x="181" y="46"/>
                    <a:pt x="181" y="46"/>
                    <a:pt x="181" y="46"/>
                  </a:cubicBezTo>
                  <a:cubicBezTo>
                    <a:pt x="181" y="308"/>
                    <a:pt x="181" y="308"/>
                    <a:pt x="181" y="308"/>
                  </a:cubicBezTo>
                  <a:cubicBezTo>
                    <a:pt x="148" y="309"/>
                    <a:pt x="136" y="324"/>
                    <a:pt x="136" y="324"/>
                  </a:cubicBezTo>
                  <a:cubicBezTo>
                    <a:pt x="236" y="324"/>
                    <a:pt x="236" y="324"/>
                    <a:pt x="236" y="324"/>
                  </a:cubicBezTo>
                  <a:cubicBezTo>
                    <a:pt x="236" y="324"/>
                    <a:pt x="222" y="310"/>
                    <a:pt x="191" y="308"/>
                  </a:cubicBezTo>
                  <a:cubicBezTo>
                    <a:pt x="191" y="43"/>
                    <a:pt x="191" y="43"/>
                    <a:pt x="191" y="43"/>
                  </a:cubicBezTo>
                  <a:cubicBezTo>
                    <a:pt x="280" y="14"/>
                    <a:pt x="280" y="14"/>
                    <a:pt x="280" y="14"/>
                  </a:cubicBezTo>
                  <a:cubicBezTo>
                    <a:pt x="283" y="13"/>
                    <a:pt x="283" y="13"/>
                    <a:pt x="283" y="13"/>
                  </a:cubicBezTo>
                  <a:cubicBezTo>
                    <a:pt x="226" y="222"/>
                    <a:pt x="226" y="222"/>
                    <a:pt x="226" y="222"/>
                  </a:cubicBezTo>
                  <a:cubicBezTo>
                    <a:pt x="208" y="222"/>
                    <a:pt x="208" y="222"/>
                    <a:pt x="208" y="222"/>
                  </a:cubicBezTo>
                  <a:cubicBezTo>
                    <a:pt x="208" y="223"/>
                    <a:pt x="208" y="223"/>
                    <a:pt x="208" y="223"/>
                  </a:cubicBezTo>
                  <a:cubicBezTo>
                    <a:pt x="208" y="223"/>
                    <a:pt x="230" y="249"/>
                    <a:pt x="288" y="249"/>
                  </a:cubicBezTo>
                  <a:cubicBezTo>
                    <a:pt x="346" y="249"/>
                    <a:pt x="371" y="223"/>
                    <a:pt x="371" y="223"/>
                  </a:cubicBezTo>
                </a:path>
              </a:pathLst>
            </a:custGeom>
            <a:solidFill>
              <a:srgbClr val="E5329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7" name="Gruppieren 96">
              <a:extLst>
                <a:ext uri="{FF2B5EF4-FFF2-40B4-BE49-F238E27FC236}">
                  <a16:creationId xmlns:a16="http://schemas.microsoft.com/office/drawing/2014/main" xmlns="" id="{BD28ADE7-9940-4DBE-9B4D-D2230FE33ECD}"/>
                </a:ext>
              </a:extLst>
            </p:cNvPr>
            <p:cNvGrpSpPr/>
            <p:nvPr/>
          </p:nvGrpSpPr>
          <p:grpSpPr>
            <a:xfrm>
              <a:off x="3800110" y="4560336"/>
              <a:ext cx="411727" cy="402270"/>
              <a:chOff x="7704138" y="3649663"/>
              <a:chExt cx="898526" cy="877888"/>
            </a:xfrm>
            <a:solidFill>
              <a:schemeClr val="tx2"/>
            </a:solidFill>
          </p:grpSpPr>
          <p:sp>
            <p:nvSpPr>
              <p:cNvPr id="98" name="Freeform 36">
                <a:extLst>
                  <a:ext uri="{FF2B5EF4-FFF2-40B4-BE49-F238E27FC236}">
                    <a16:creationId xmlns:a16="http://schemas.microsoft.com/office/drawing/2014/main" xmlns="" id="{CE6A7B44-8D82-48BD-B2CD-B65165589EB5}"/>
                  </a:ext>
                </a:extLst>
              </p:cNvPr>
              <p:cNvSpPr>
                <a:spLocks/>
              </p:cNvSpPr>
              <p:nvPr/>
            </p:nvSpPr>
            <p:spPr bwMode="auto">
              <a:xfrm>
                <a:off x="7704138" y="3649663"/>
                <a:ext cx="487363" cy="877888"/>
              </a:xfrm>
              <a:custGeom>
                <a:avLst/>
                <a:gdLst>
                  <a:gd name="T0" fmla="*/ 188 w 213"/>
                  <a:gd name="T1" fmla="*/ 122 h 383"/>
                  <a:gd name="T2" fmla="*/ 198 w 213"/>
                  <a:gd name="T3" fmla="*/ 94 h 383"/>
                  <a:gd name="T4" fmla="*/ 153 w 213"/>
                  <a:gd name="T5" fmla="*/ 49 h 383"/>
                  <a:gd name="T6" fmla="*/ 151 w 213"/>
                  <a:gd name="T7" fmla="*/ 49 h 383"/>
                  <a:gd name="T8" fmla="*/ 152 w 213"/>
                  <a:gd name="T9" fmla="*/ 39 h 383"/>
                  <a:gd name="T10" fmla="*/ 113 w 213"/>
                  <a:gd name="T11" fmla="*/ 0 h 383"/>
                  <a:gd name="T12" fmla="*/ 74 w 213"/>
                  <a:gd name="T13" fmla="*/ 39 h 383"/>
                  <a:gd name="T14" fmla="*/ 74 w 213"/>
                  <a:gd name="T15" fmla="*/ 40 h 383"/>
                  <a:gd name="T16" fmla="*/ 25 w 213"/>
                  <a:gd name="T17" fmla="*/ 91 h 383"/>
                  <a:gd name="T18" fmla="*/ 28 w 213"/>
                  <a:gd name="T19" fmla="*/ 105 h 383"/>
                  <a:gd name="T20" fmla="*/ 0 w 213"/>
                  <a:gd name="T21" fmla="*/ 155 h 383"/>
                  <a:gd name="T22" fmla="*/ 30 w 213"/>
                  <a:gd name="T23" fmla="*/ 207 h 383"/>
                  <a:gd name="T24" fmla="*/ 29 w 213"/>
                  <a:gd name="T25" fmla="*/ 215 h 383"/>
                  <a:gd name="T26" fmla="*/ 79 w 213"/>
                  <a:gd name="T27" fmla="*/ 265 h 383"/>
                  <a:gd name="T28" fmla="*/ 98 w 213"/>
                  <a:gd name="T29" fmla="*/ 261 h 383"/>
                  <a:gd name="T30" fmla="*/ 101 w 213"/>
                  <a:gd name="T31" fmla="*/ 261 h 383"/>
                  <a:gd name="T32" fmla="*/ 101 w 213"/>
                  <a:gd name="T33" fmla="*/ 383 h 383"/>
                  <a:gd name="T34" fmla="*/ 132 w 213"/>
                  <a:gd name="T35" fmla="*/ 383 h 383"/>
                  <a:gd name="T36" fmla="*/ 132 w 213"/>
                  <a:gd name="T37" fmla="*/ 267 h 383"/>
                  <a:gd name="T38" fmla="*/ 147 w 213"/>
                  <a:gd name="T39" fmla="*/ 270 h 383"/>
                  <a:gd name="T40" fmla="*/ 170 w 213"/>
                  <a:gd name="T41" fmla="*/ 264 h 383"/>
                  <a:gd name="T42" fmla="*/ 146 w 213"/>
                  <a:gd name="T43" fmla="*/ 221 h 383"/>
                  <a:gd name="T44" fmla="*/ 188 w 213"/>
                  <a:gd name="T45" fmla="*/ 169 h 383"/>
                  <a:gd name="T46" fmla="*/ 213 w 213"/>
                  <a:gd name="T47" fmla="*/ 144 h 383"/>
                  <a:gd name="T48" fmla="*/ 188 w 213"/>
                  <a:gd name="T49" fmla="*/ 12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3" h="383">
                    <a:moveTo>
                      <a:pt x="188" y="122"/>
                    </a:moveTo>
                    <a:cubicBezTo>
                      <a:pt x="194" y="114"/>
                      <a:pt x="198" y="105"/>
                      <a:pt x="198" y="94"/>
                    </a:cubicBezTo>
                    <a:cubicBezTo>
                      <a:pt x="198" y="69"/>
                      <a:pt x="178" y="49"/>
                      <a:pt x="153" y="49"/>
                    </a:cubicBezTo>
                    <a:cubicBezTo>
                      <a:pt x="152" y="49"/>
                      <a:pt x="152" y="49"/>
                      <a:pt x="151" y="49"/>
                    </a:cubicBezTo>
                    <a:cubicBezTo>
                      <a:pt x="152" y="46"/>
                      <a:pt x="152" y="43"/>
                      <a:pt x="152" y="39"/>
                    </a:cubicBezTo>
                    <a:cubicBezTo>
                      <a:pt x="152" y="17"/>
                      <a:pt x="135" y="0"/>
                      <a:pt x="113" y="0"/>
                    </a:cubicBezTo>
                    <a:cubicBezTo>
                      <a:pt x="91" y="0"/>
                      <a:pt x="74" y="17"/>
                      <a:pt x="74" y="39"/>
                    </a:cubicBezTo>
                    <a:cubicBezTo>
                      <a:pt x="74" y="40"/>
                      <a:pt x="74" y="40"/>
                      <a:pt x="74" y="40"/>
                    </a:cubicBezTo>
                    <a:cubicBezTo>
                      <a:pt x="47" y="41"/>
                      <a:pt x="25" y="63"/>
                      <a:pt x="25" y="91"/>
                    </a:cubicBezTo>
                    <a:cubicBezTo>
                      <a:pt x="25" y="96"/>
                      <a:pt x="26" y="101"/>
                      <a:pt x="28" y="105"/>
                    </a:cubicBezTo>
                    <a:cubicBezTo>
                      <a:pt x="11" y="116"/>
                      <a:pt x="0" y="134"/>
                      <a:pt x="0" y="155"/>
                    </a:cubicBezTo>
                    <a:cubicBezTo>
                      <a:pt x="0" y="178"/>
                      <a:pt x="12" y="197"/>
                      <a:pt x="30" y="207"/>
                    </a:cubicBezTo>
                    <a:cubicBezTo>
                      <a:pt x="29" y="209"/>
                      <a:pt x="29" y="212"/>
                      <a:pt x="29" y="215"/>
                    </a:cubicBezTo>
                    <a:cubicBezTo>
                      <a:pt x="29" y="243"/>
                      <a:pt x="51" y="265"/>
                      <a:pt x="79" y="265"/>
                    </a:cubicBezTo>
                    <a:cubicBezTo>
                      <a:pt x="86" y="265"/>
                      <a:pt x="92" y="264"/>
                      <a:pt x="98" y="261"/>
                    </a:cubicBezTo>
                    <a:cubicBezTo>
                      <a:pt x="99" y="261"/>
                      <a:pt x="100" y="261"/>
                      <a:pt x="101" y="261"/>
                    </a:cubicBezTo>
                    <a:cubicBezTo>
                      <a:pt x="101" y="383"/>
                      <a:pt x="101" y="383"/>
                      <a:pt x="101" y="383"/>
                    </a:cubicBezTo>
                    <a:cubicBezTo>
                      <a:pt x="132" y="383"/>
                      <a:pt x="132" y="383"/>
                      <a:pt x="132" y="383"/>
                    </a:cubicBezTo>
                    <a:cubicBezTo>
                      <a:pt x="132" y="267"/>
                      <a:pt x="132" y="267"/>
                      <a:pt x="132" y="267"/>
                    </a:cubicBezTo>
                    <a:cubicBezTo>
                      <a:pt x="137" y="269"/>
                      <a:pt x="142" y="270"/>
                      <a:pt x="147" y="270"/>
                    </a:cubicBezTo>
                    <a:cubicBezTo>
                      <a:pt x="155" y="270"/>
                      <a:pt x="163" y="268"/>
                      <a:pt x="170" y="264"/>
                    </a:cubicBezTo>
                    <a:cubicBezTo>
                      <a:pt x="155" y="255"/>
                      <a:pt x="146" y="239"/>
                      <a:pt x="146" y="221"/>
                    </a:cubicBezTo>
                    <a:cubicBezTo>
                      <a:pt x="146" y="195"/>
                      <a:pt x="164" y="174"/>
                      <a:pt x="188" y="169"/>
                    </a:cubicBezTo>
                    <a:cubicBezTo>
                      <a:pt x="193" y="158"/>
                      <a:pt x="202" y="149"/>
                      <a:pt x="213" y="144"/>
                    </a:cubicBezTo>
                    <a:cubicBezTo>
                      <a:pt x="207" y="134"/>
                      <a:pt x="198" y="127"/>
                      <a:pt x="188" y="122"/>
                    </a:cubicBez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37">
                <a:extLst>
                  <a:ext uri="{FF2B5EF4-FFF2-40B4-BE49-F238E27FC236}">
                    <a16:creationId xmlns:a16="http://schemas.microsoft.com/office/drawing/2014/main" xmlns="" id="{BDEF46B1-8621-4418-BA23-0E1EB0B75F6E}"/>
                  </a:ext>
                </a:extLst>
              </p:cNvPr>
              <p:cNvSpPr>
                <a:spLocks/>
              </p:cNvSpPr>
              <p:nvPr/>
            </p:nvSpPr>
            <p:spPr bwMode="auto">
              <a:xfrm>
                <a:off x="8083551" y="3911601"/>
                <a:ext cx="519113" cy="615950"/>
              </a:xfrm>
              <a:custGeom>
                <a:avLst/>
                <a:gdLst>
                  <a:gd name="T0" fmla="*/ 227 w 227"/>
                  <a:gd name="T1" fmla="*/ 113 h 269"/>
                  <a:gd name="T2" fmla="*/ 191 w 227"/>
                  <a:gd name="T3" fmla="*/ 63 h 269"/>
                  <a:gd name="T4" fmla="*/ 151 w 227"/>
                  <a:gd name="T5" fmla="*/ 30 h 269"/>
                  <a:gd name="T6" fmla="*/ 147 w 227"/>
                  <a:gd name="T7" fmla="*/ 31 h 269"/>
                  <a:gd name="T8" fmla="*/ 112 w 227"/>
                  <a:gd name="T9" fmla="*/ 0 h 269"/>
                  <a:gd name="T10" fmla="*/ 78 w 227"/>
                  <a:gd name="T11" fmla="*/ 27 h 269"/>
                  <a:gd name="T12" fmla="*/ 42 w 227"/>
                  <a:gd name="T13" fmla="*/ 55 h 269"/>
                  <a:gd name="T14" fmla="*/ 0 w 227"/>
                  <a:gd name="T15" fmla="*/ 107 h 269"/>
                  <a:gd name="T16" fmla="*/ 39 w 227"/>
                  <a:gd name="T17" fmla="*/ 157 h 269"/>
                  <a:gd name="T18" fmla="*/ 75 w 227"/>
                  <a:gd name="T19" fmla="*/ 191 h 269"/>
                  <a:gd name="T20" fmla="*/ 100 w 227"/>
                  <a:gd name="T21" fmla="*/ 206 h 269"/>
                  <a:gd name="T22" fmla="*/ 107 w 227"/>
                  <a:gd name="T23" fmla="*/ 205 h 269"/>
                  <a:gd name="T24" fmla="*/ 107 w 227"/>
                  <a:gd name="T25" fmla="*/ 269 h 269"/>
                  <a:gd name="T26" fmla="*/ 125 w 227"/>
                  <a:gd name="T27" fmla="*/ 269 h 269"/>
                  <a:gd name="T28" fmla="*/ 125 w 227"/>
                  <a:gd name="T29" fmla="*/ 191 h 269"/>
                  <a:gd name="T30" fmla="*/ 125 w 227"/>
                  <a:gd name="T31" fmla="*/ 191 h 269"/>
                  <a:gd name="T32" fmla="*/ 144 w 227"/>
                  <a:gd name="T33" fmla="*/ 195 h 269"/>
                  <a:gd name="T34" fmla="*/ 186 w 227"/>
                  <a:gd name="T35" fmla="*/ 165 h 269"/>
                  <a:gd name="T36" fmla="*/ 227 w 227"/>
                  <a:gd name="T37" fmla="*/ 11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7" h="269">
                    <a:moveTo>
                      <a:pt x="227" y="113"/>
                    </a:moveTo>
                    <a:cubicBezTo>
                      <a:pt x="227" y="90"/>
                      <a:pt x="212" y="70"/>
                      <a:pt x="191" y="63"/>
                    </a:cubicBezTo>
                    <a:cubicBezTo>
                      <a:pt x="187" y="45"/>
                      <a:pt x="171" y="30"/>
                      <a:pt x="151" y="30"/>
                    </a:cubicBezTo>
                    <a:cubicBezTo>
                      <a:pt x="150" y="30"/>
                      <a:pt x="148" y="30"/>
                      <a:pt x="147" y="31"/>
                    </a:cubicBezTo>
                    <a:cubicBezTo>
                      <a:pt x="144" y="13"/>
                      <a:pt x="129" y="0"/>
                      <a:pt x="112" y="0"/>
                    </a:cubicBezTo>
                    <a:cubicBezTo>
                      <a:pt x="95" y="0"/>
                      <a:pt x="82" y="12"/>
                      <a:pt x="78" y="27"/>
                    </a:cubicBezTo>
                    <a:cubicBezTo>
                      <a:pt x="61" y="29"/>
                      <a:pt x="48" y="40"/>
                      <a:pt x="42" y="55"/>
                    </a:cubicBezTo>
                    <a:cubicBezTo>
                      <a:pt x="18" y="60"/>
                      <a:pt x="0" y="81"/>
                      <a:pt x="0" y="107"/>
                    </a:cubicBezTo>
                    <a:cubicBezTo>
                      <a:pt x="0" y="131"/>
                      <a:pt x="17" y="152"/>
                      <a:pt x="39" y="157"/>
                    </a:cubicBezTo>
                    <a:cubicBezTo>
                      <a:pt x="43" y="174"/>
                      <a:pt x="57" y="188"/>
                      <a:pt x="75" y="191"/>
                    </a:cubicBezTo>
                    <a:cubicBezTo>
                      <a:pt x="80" y="200"/>
                      <a:pt x="89" y="206"/>
                      <a:pt x="100" y="206"/>
                    </a:cubicBezTo>
                    <a:cubicBezTo>
                      <a:pt x="103" y="206"/>
                      <a:pt x="105" y="206"/>
                      <a:pt x="107" y="205"/>
                    </a:cubicBezTo>
                    <a:cubicBezTo>
                      <a:pt x="107" y="269"/>
                      <a:pt x="107" y="269"/>
                      <a:pt x="107" y="269"/>
                    </a:cubicBezTo>
                    <a:cubicBezTo>
                      <a:pt x="125" y="269"/>
                      <a:pt x="125" y="269"/>
                      <a:pt x="125" y="269"/>
                    </a:cubicBezTo>
                    <a:cubicBezTo>
                      <a:pt x="125" y="191"/>
                      <a:pt x="125" y="191"/>
                      <a:pt x="125" y="191"/>
                    </a:cubicBezTo>
                    <a:cubicBezTo>
                      <a:pt x="125" y="191"/>
                      <a:pt x="125" y="191"/>
                      <a:pt x="125" y="191"/>
                    </a:cubicBezTo>
                    <a:cubicBezTo>
                      <a:pt x="131" y="194"/>
                      <a:pt x="137" y="195"/>
                      <a:pt x="144" y="195"/>
                    </a:cubicBezTo>
                    <a:cubicBezTo>
                      <a:pt x="164" y="195"/>
                      <a:pt x="180" y="182"/>
                      <a:pt x="186" y="165"/>
                    </a:cubicBezTo>
                    <a:cubicBezTo>
                      <a:pt x="209" y="159"/>
                      <a:pt x="227" y="138"/>
                      <a:pt x="227" y="113"/>
                    </a:cubicBez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0" name="Ellipse 61">
              <a:extLst>
                <a:ext uri="{FF2B5EF4-FFF2-40B4-BE49-F238E27FC236}">
                  <a16:creationId xmlns:a16="http://schemas.microsoft.com/office/drawing/2014/main" xmlns="" id="{4828CF2B-D0E3-4C99-9333-51FBA80A3DE0}"/>
                </a:ext>
              </a:extLst>
            </p:cNvPr>
            <p:cNvSpPr>
              <a:spLocks/>
            </p:cNvSpPr>
            <p:nvPr/>
          </p:nvSpPr>
          <p:spPr>
            <a:xfrm rot="5400000">
              <a:off x="2979644" y="1284648"/>
              <a:ext cx="432000" cy="1507777"/>
            </a:xfrm>
            <a:prstGeom prst="rect">
              <a:avLst/>
            </a:prstGeom>
            <a:noFill/>
            <a:ln>
              <a:noFill/>
            </a:ln>
          </p:spPr>
          <p:txBody>
            <a:bodyPr vert="vert270" wrap="square" lIns="0" tIns="0" rIns="0" bIns="0" rtlCol="0" anchor="ctr" anchorCtr="0"/>
            <a:lstStyle/>
            <a:p>
              <a:pPr algn="ctr">
                <a:spcAft>
                  <a:spcPts val="600"/>
                </a:spcAft>
              </a:pPr>
              <a:r>
                <a:rPr lang="en-GB" sz="1600" dirty="0"/>
                <a:t>Political / Legal</a:t>
              </a:r>
              <a:br>
                <a:rPr lang="en-GB" sz="1600" dirty="0"/>
              </a:br>
              <a:r>
                <a:rPr lang="en-GB" dirty="0"/>
                <a:t>Environment</a:t>
              </a:r>
              <a:endParaRPr lang="en-GB" sz="1600" dirty="0">
                <a:cs typeface="Calibri"/>
              </a:endParaRPr>
            </a:p>
          </p:txBody>
        </p:sp>
        <p:sp>
          <p:nvSpPr>
            <p:cNvPr id="101" name="Ellipse 61">
              <a:extLst>
                <a:ext uri="{FF2B5EF4-FFF2-40B4-BE49-F238E27FC236}">
                  <a16:creationId xmlns:a16="http://schemas.microsoft.com/office/drawing/2014/main" xmlns="" id="{1F121331-B9EE-43A0-8D37-FC03A4F13E2F}"/>
                </a:ext>
              </a:extLst>
            </p:cNvPr>
            <p:cNvSpPr>
              <a:spLocks/>
            </p:cNvSpPr>
            <p:nvPr/>
          </p:nvSpPr>
          <p:spPr>
            <a:xfrm rot="5400000">
              <a:off x="8790645" y="1318536"/>
              <a:ext cx="432000" cy="1440000"/>
            </a:xfrm>
            <a:prstGeom prst="rect">
              <a:avLst/>
            </a:prstGeom>
            <a:noFill/>
            <a:ln>
              <a:noFill/>
            </a:ln>
          </p:spPr>
          <p:txBody>
            <a:bodyPr vert="vert270" wrap="square" lIns="0" tIns="0" rIns="0" bIns="0" rtlCol="0" anchor="ctr" anchorCtr="0"/>
            <a:lstStyle/>
            <a:p>
              <a:pPr algn="ctr">
                <a:spcAft>
                  <a:spcPts val="600"/>
                </a:spcAft>
              </a:pPr>
              <a:r>
                <a:rPr lang="en-GB" sz="1600" dirty="0"/>
                <a:t>Economical </a:t>
              </a:r>
              <a:br>
                <a:rPr lang="en-GB" sz="1600" dirty="0"/>
              </a:br>
              <a:r>
                <a:rPr lang="en-GB" sz="1600" dirty="0"/>
                <a:t>Environment</a:t>
              </a:r>
              <a:endParaRPr lang="en-GB" sz="1600" dirty="0">
                <a:cs typeface="Calibri"/>
              </a:endParaRPr>
            </a:p>
          </p:txBody>
        </p:sp>
        <p:sp>
          <p:nvSpPr>
            <p:cNvPr id="102" name="Ellipse 61">
              <a:extLst>
                <a:ext uri="{FF2B5EF4-FFF2-40B4-BE49-F238E27FC236}">
                  <a16:creationId xmlns:a16="http://schemas.microsoft.com/office/drawing/2014/main" xmlns="" id="{A0000FED-6E92-42B8-BA47-345EDB9A31CB}"/>
                </a:ext>
              </a:extLst>
            </p:cNvPr>
            <p:cNvSpPr>
              <a:spLocks/>
            </p:cNvSpPr>
            <p:nvPr/>
          </p:nvSpPr>
          <p:spPr>
            <a:xfrm rot="5400000">
              <a:off x="8790645" y="4377654"/>
              <a:ext cx="432000" cy="1440000"/>
            </a:xfrm>
            <a:prstGeom prst="rect">
              <a:avLst/>
            </a:prstGeom>
            <a:noFill/>
            <a:ln>
              <a:noFill/>
            </a:ln>
          </p:spPr>
          <p:txBody>
            <a:bodyPr vert="vert270" wrap="square" lIns="0" tIns="0" rIns="0" bIns="0" rtlCol="0" anchor="ctr" anchorCtr="0"/>
            <a:lstStyle/>
            <a:p>
              <a:pPr algn="ctr">
                <a:spcAft>
                  <a:spcPts val="600"/>
                </a:spcAft>
              </a:pPr>
              <a:r>
                <a:rPr lang="en-GB" sz="1600" dirty="0"/>
                <a:t>Social Environment</a:t>
              </a:r>
              <a:endParaRPr lang="en-GB" sz="1600" dirty="0">
                <a:cs typeface="Calibri"/>
              </a:endParaRPr>
            </a:p>
          </p:txBody>
        </p:sp>
        <p:sp>
          <p:nvSpPr>
            <p:cNvPr id="103" name="Ellipse 61">
              <a:extLst>
                <a:ext uri="{FF2B5EF4-FFF2-40B4-BE49-F238E27FC236}">
                  <a16:creationId xmlns:a16="http://schemas.microsoft.com/office/drawing/2014/main" xmlns="" id="{9092344C-388A-4616-89F5-8EAFC10AB22F}"/>
                </a:ext>
              </a:extLst>
            </p:cNvPr>
            <p:cNvSpPr>
              <a:spLocks/>
            </p:cNvSpPr>
            <p:nvPr/>
          </p:nvSpPr>
          <p:spPr>
            <a:xfrm rot="5400000">
              <a:off x="2994539" y="4377654"/>
              <a:ext cx="432000" cy="1440000"/>
            </a:xfrm>
            <a:prstGeom prst="rect">
              <a:avLst/>
            </a:prstGeom>
            <a:noFill/>
            <a:ln>
              <a:noFill/>
            </a:ln>
          </p:spPr>
          <p:txBody>
            <a:bodyPr vert="vert270" wrap="square" lIns="0" tIns="0" rIns="0" bIns="0" rtlCol="0" anchor="ctr" anchorCtr="0"/>
            <a:lstStyle/>
            <a:p>
              <a:pPr algn="ctr">
                <a:spcAft>
                  <a:spcPts val="600"/>
                </a:spcAft>
              </a:pPr>
              <a:r>
                <a:rPr lang="en-GB" sz="1600" dirty="0"/>
                <a:t>Ecological</a:t>
              </a:r>
              <a:br>
                <a:rPr lang="en-GB" sz="1600" dirty="0"/>
              </a:br>
              <a:r>
                <a:rPr lang="en-GB" sz="1600" dirty="0"/>
                <a:t>Environment</a:t>
              </a:r>
              <a:r>
                <a:rPr lang="en-GB" sz="1400" dirty="0"/>
                <a:t/>
              </a:r>
              <a:br>
                <a:rPr lang="en-GB" sz="1400" dirty="0"/>
              </a:br>
              <a:endParaRPr lang="en-GB" sz="1400" dirty="0"/>
            </a:p>
          </p:txBody>
        </p:sp>
        <p:sp>
          <p:nvSpPr>
            <p:cNvPr id="104" name="Ellipse 61">
              <a:extLst>
                <a:ext uri="{FF2B5EF4-FFF2-40B4-BE49-F238E27FC236}">
                  <a16:creationId xmlns:a16="http://schemas.microsoft.com/office/drawing/2014/main" xmlns="" id="{3447823A-AC12-4EA8-8E99-3320DA809566}"/>
                </a:ext>
              </a:extLst>
            </p:cNvPr>
            <p:cNvSpPr>
              <a:spLocks/>
            </p:cNvSpPr>
            <p:nvPr/>
          </p:nvSpPr>
          <p:spPr>
            <a:xfrm rot="5400000">
              <a:off x="6125180" y="5218493"/>
              <a:ext cx="206741" cy="2399491"/>
            </a:xfrm>
            <a:prstGeom prst="rect">
              <a:avLst/>
            </a:prstGeom>
            <a:noFill/>
            <a:ln>
              <a:noFill/>
            </a:ln>
          </p:spPr>
          <p:txBody>
            <a:bodyPr vert="vert270" wrap="square" lIns="0" tIns="0" rIns="0" bIns="0" rtlCol="0" anchor="ctr" anchorCtr="0"/>
            <a:lstStyle/>
            <a:p>
              <a:pPr algn="ctr">
                <a:spcAft>
                  <a:spcPts val="600"/>
                </a:spcAft>
              </a:pPr>
              <a:r>
                <a:rPr lang="en-GB" sz="1600" dirty="0"/>
                <a:t>Technological Environment</a:t>
              </a:r>
              <a:endParaRPr lang="en-US" sz="1600">
                <a:cs typeface="Calibri"/>
              </a:endParaRPr>
            </a:p>
          </p:txBody>
        </p:sp>
        <p:sp>
          <p:nvSpPr>
            <p:cNvPr id="105" name="AutoShape 36">
              <a:extLst>
                <a:ext uri="{FF2B5EF4-FFF2-40B4-BE49-F238E27FC236}">
                  <a16:creationId xmlns:a16="http://schemas.microsoft.com/office/drawing/2014/main" xmlns="" id="{5763F6DC-32B5-48D1-8A1E-7654A5C5961C}"/>
                </a:ext>
              </a:extLst>
            </p:cNvPr>
            <p:cNvSpPr txBox="1">
              <a:spLocks noChangeAspect="1"/>
            </p:cNvSpPr>
            <p:nvPr/>
          </p:nvSpPr>
          <p:spPr bwMode="gray">
            <a:xfrm rot="2700000">
              <a:off x="4808310" y="2349472"/>
              <a:ext cx="212308" cy="216000"/>
            </a:xfrm>
            <a:prstGeom prst="chevron">
              <a:avLst>
                <a:gd name="adj" fmla="val 35010"/>
              </a:avLst>
            </a:prstGeom>
            <a:solidFill>
              <a:srgbClr val="E53292"/>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6" name="AutoShape 36">
              <a:extLst>
                <a:ext uri="{FF2B5EF4-FFF2-40B4-BE49-F238E27FC236}">
                  <a16:creationId xmlns:a16="http://schemas.microsoft.com/office/drawing/2014/main" xmlns="" id="{70E66169-A105-4EE3-B42F-7EDBEE3F5906}"/>
                </a:ext>
              </a:extLst>
            </p:cNvPr>
            <p:cNvSpPr txBox="1">
              <a:spLocks noChangeAspect="1"/>
            </p:cNvSpPr>
            <p:nvPr/>
          </p:nvSpPr>
          <p:spPr bwMode="gray">
            <a:xfrm rot="19569900">
              <a:off x="4399338" y="4510433"/>
              <a:ext cx="212308" cy="216000"/>
            </a:xfrm>
            <a:prstGeom prst="chevron">
              <a:avLst>
                <a:gd name="adj" fmla="val 35010"/>
              </a:avLst>
            </a:prstGeom>
            <a:solidFill>
              <a:srgbClr val="002060"/>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7" name="AutoShape 36">
              <a:extLst>
                <a:ext uri="{FF2B5EF4-FFF2-40B4-BE49-F238E27FC236}">
                  <a16:creationId xmlns:a16="http://schemas.microsoft.com/office/drawing/2014/main" xmlns="" id="{38825D42-82F4-4F4C-802C-0A586AA0E9E7}"/>
                </a:ext>
              </a:extLst>
            </p:cNvPr>
            <p:cNvSpPr txBox="1">
              <a:spLocks noChangeAspect="1"/>
            </p:cNvSpPr>
            <p:nvPr/>
          </p:nvSpPr>
          <p:spPr bwMode="gray">
            <a:xfrm rot="8100000">
              <a:off x="7317013" y="2529226"/>
              <a:ext cx="212308" cy="216000"/>
            </a:xfrm>
            <a:prstGeom prst="chevron">
              <a:avLst>
                <a:gd name="adj" fmla="val 35010"/>
              </a:avLst>
            </a:prstGeom>
            <a:solidFill>
              <a:schemeClr val="accent2"/>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8" name="AutoShape 36">
              <a:extLst>
                <a:ext uri="{FF2B5EF4-FFF2-40B4-BE49-F238E27FC236}">
                  <a16:creationId xmlns:a16="http://schemas.microsoft.com/office/drawing/2014/main" xmlns="" id="{9CD7BEBF-CEE2-4B99-8EEE-4723A42A344E}"/>
                </a:ext>
              </a:extLst>
            </p:cNvPr>
            <p:cNvSpPr txBox="1">
              <a:spLocks noChangeAspect="1"/>
            </p:cNvSpPr>
            <p:nvPr/>
          </p:nvSpPr>
          <p:spPr bwMode="gray">
            <a:xfrm rot="2267131" flipH="1" flipV="1">
              <a:off x="7509808" y="4661526"/>
              <a:ext cx="212308" cy="216000"/>
            </a:xfrm>
            <a:prstGeom prst="chevron">
              <a:avLst>
                <a:gd name="adj" fmla="val 35010"/>
              </a:avLst>
            </a:prstGeom>
            <a:solidFill>
              <a:schemeClr val="accent5"/>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9" name="AutoShape 36">
              <a:extLst>
                <a:ext uri="{FF2B5EF4-FFF2-40B4-BE49-F238E27FC236}">
                  <a16:creationId xmlns:a16="http://schemas.microsoft.com/office/drawing/2014/main" xmlns="" id="{692520F7-5B85-4F78-BD86-5878B39AEF78}"/>
                </a:ext>
              </a:extLst>
            </p:cNvPr>
            <p:cNvSpPr txBox="1">
              <a:spLocks noChangeAspect="1"/>
            </p:cNvSpPr>
            <p:nvPr/>
          </p:nvSpPr>
          <p:spPr bwMode="gray">
            <a:xfrm rot="16200000">
              <a:off x="6002038" y="5518250"/>
              <a:ext cx="212308" cy="216000"/>
            </a:xfrm>
            <a:prstGeom prst="chevron">
              <a:avLst>
                <a:gd name="adj" fmla="val 35010"/>
              </a:avLst>
            </a:prstGeom>
            <a:solidFill>
              <a:srgbClr val="00B050"/>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grpSp>
    </p:spTree>
    <p:extLst>
      <p:ext uri="{BB962C8B-B14F-4D97-AF65-F5344CB8AC3E}">
        <p14:creationId xmlns:p14="http://schemas.microsoft.com/office/powerpoint/2010/main" val="3585118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5147" y="623992"/>
            <a:ext cx="8852375" cy="697353"/>
          </a:xfrm>
        </p:spPr>
        <p:txBody>
          <a:bodyPr>
            <a:normAutofit/>
          </a:bodyPr>
          <a:lstStyle/>
          <a:p>
            <a:r>
              <a:rPr lang="en-GB" dirty="0"/>
              <a:t>Restructuring Concept: Portfolio Analy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1650" y="1887509"/>
            <a:ext cx="2977843" cy="448358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ortfolio Analysis is the process of reviewing or assessing the elements of the entire portfolio of securities or products in a business. The review is done for careful analysis of risk and return.. The analysis also helps in proper resource/asset allocation to different elements in the portfolio.</a:t>
            </a:r>
            <a:endParaRPr lang="en-US" sz="2200" dirty="0">
              <a:solidFill>
                <a:srgbClr val="245473"/>
              </a:solidFill>
            </a:endParaRPr>
          </a:p>
        </p:txBody>
      </p:sp>
      <p:grpSp>
        <p:nvGrpSpPr>
          <p:cNvPr id="5" name="Gruppieren 4">
            <a:extLst>
              <a:ext uri="{FF2B5EF4-FFF2-40B4-BE49-F238E27FC236}">
                <a16:creationId xmlns:a16="http://schemas.microsoft.com/office/drawing/2014/main" xmlns="" id="{1B76796B-C9AA-4190-88E6-D0119F3A7C57}"/>
              </a:ext>
            </a:extLst>
          </p:cNvPr>
          <p:cNvGrpSpPr/>
          <p:nvPr/>
        </p:nvGrpSpPr>
        <p:grpSpPr>
          <a:xfrm>
            <a:off x="3361938" y="1715096"/>
            <a:ext cx="8560427" cy="4596025"/>
            <a:chOff x="1824636" y="1854550"/>
            <a:chExt cx="8560427" cy="4596025"/>
          </a:xfrm>
        </p:grpSpPr>
        <p:sp>
          <p:nvSpPr>
            <p:cNvPr id="53" name="Textplatzhalter 3">
              <a:extLst>
                <a:ext uri="{FF2B5EF4-FFF2-40B4-BE49-F238E27FC236}">
                  <a16:creationId xmlns:a16="http://schemas.microsoft.com/office/drawing/2014/main" xmlns="" id="{89F04E0E-6200-4D6B-85E5-B64304DBEA4D}"/>
                </a:ext>
              </a:extLst>
            </p:cNvPr>
            <p:cNvSpPr txBox="1">
              <a:spLocks/>
            </p:cNvSpPr>
            <p:nvPr/>
          </p:nvSpPr>
          <p:spPr bwMode="gray">
            <a:xfrm>
              <a:off x="2371227" y="4025212"/>
              <a:ext cx="3950462" cy="1941321"/>
            </a:xfrm>
            <a:prstGeom prst="rect">
              <a:avLst/>
            </a:prstGeom>
            <a:solidFill>
              <a:srgbClr val="E53292"/>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Poor Dogs</a:t>
              </a:r>
            </a:p>
          </p:txBody>
        </p:sp>
        <p:sp>
          <p:nvSpPr>
            <p:cNvPr id="54" name="Textplatzhalter 3">
              <a:extLst>
                <a:ext uri="{FF2B5EF4-FFF2-40B4-BE49-F238E27FC236}">
                  <a16:creationId xmlns:a16="http://schemas.microsoft.com/office/drawing/2014/main" xmlns="" id="{5B97D2D6-5395-4C78-9417-079579A7E4D3}"/>
                </a:ext>
              </a:extLst>
            </p:cNvPr>
            <p:cNvSpPr txBox="1">
              <a:spLocks/>
            </p:cNvSpPr>
            <p:nvPr/>
          </p:nvSpPr>
          <p:spPr bwMode="gray">
            <a:xfrm>
              <a:off x="6393688" y="4025212"/>
              <a:ext cx="3950462" cy="1941322"/>
            </a:xfrm>
            <a:prstGeom prst="rect">
              <a:avLst/>
            </a:prstGeom>
            <a:solidFill>
              <a:schemeClr val="tx1">
                <a:lumMod val="50000"/>
                <a:lumOff val="50000"/>
              </a:schemeClr>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Cash Cows</a:t>
              </a:r>
            </a:p>
          </p:txBody>
        </p:sp>
        <p:sp>
          <p:nvSpPr>
            <p:cNvPr id="55" name="Textplatzhalter 3">
              <a:extLst>
                <a:ext uri="{FF2B5EF4-FFF2-40B4-BE49-F238E27FC236}">
                  <a16:creationId xmlns:a16="http://schemas.microsoft.com/office/drawing/2014/main" xmlns="" id="{8BEDD873-E64C-40F4-B182-FB5F5CDAD1C9}"/>
                </a:ext>
              </a:extLst>
            </p:cNvPr>
            <p:cNvSpPr txBox="1">
              <a:spLocks/>
            </p:cNvSpPr>
            <p:nvPr/>
          </p:nvSpPr>
          <p:spPr bwMode="gray">
            <a:xfrm>
              <a:off x="6393689" y="2011890"/>
              <a:ext cx="3950461" cy="1941322"/>
            </a:xfrm>
            <a:prstGeom prst="rect">
              <a:avLst/>
            </a:prstGeom>
            <a:solidFill>
              <a:schemeClr val="accent6"/>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Stars</a:t>
              </a:r>
            </a:p>
          </p:txBody>
        </p:sp>
        <p:sp>
          <p:nvSpPr>
            <p:cNvPr id="56" name="Textplatzhalter 3">
              <a:extLst>
                <a:ext uri="{FF2B5EF4-FFF2-40B4-BE49-F238E27FC236}">
                  <a16:creationId xmlns:a16="http://schemas.microsoft.com/office/drawing/2014/main" xmlns="" id="{3A478D9D-309E-4A47-9781-A3641C71BD29}"/>
                </a:ext>
              </a:extLst>
            </p:cNvPr>
            <p:cNvSpPr txBox="1">
              <a:spLocks/>
            </p:cNvSpPr>
            <p:nvPr/>
          </p:nvSpPr>
          <p:spPr bwMode="gray">
            <a:xfrm>
              <a:off x="2371228" y="2011891"/>
              <a:ext cx="3950461" cy="1941321"/>
            </a:xfrm>
            <a:prstGeom prst="rect">
              <a:avLst/>
            </a:prstGeom>
            <a:solidFill>
              <a:schemeClr val="bg1">
                <a:lumMod val="95000"/>
              </a:schemeClr>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Question Marks</a:t>
              </a:r>
            </a:p>
          </p:txBody>
        </p:sp>
        <p:cxnSp>
          <p:nvCxnSpPr>
            <p:cNvPr id="57" name="Gerade Verbindung mit Pfeil 56">
              <a:extLst>
                <a:ext uri="{FF2B5EF4-FFF2-40B4-BE49-F238E27FC236}">
                  <a16:creationId xmlns:a16="http://schemas.microsoft.com/office/drawing/2014/main" xmlns="" id="{6972CBF0-9DF4-4EA3-B20D-DD9C1FC6A4D7}"/>
                </a:ext>
              </a:extLst>
            </p:cNvPr>
            <p:cNvCxnSpPr/>
            <p:nvPr/>
          </p:nvCxnSpPr>
          <p:spPr>
            <a:xfrm>
              <a:off x="1994232" y="2337411"/>
              <a:ext cx="0" cy="3243255"/>
            </a:xfrm>
            <a:prstGeom prst="straightConnector1">
              <a:avLst/>
            </a:prstGeom>
            <a:ln w="63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8" name="Gruppieren 57">
              <a:extLst>
                <a:ext uri="{FF2B5EF4-FFF2-40B4-BE49-F238E27FC236}">
                  <a16:creationId xmlns:a16="http://schemas.microsoft.com/office/drawing/2014/main" xmlns="" id="{14DFE472-6EC6-413C-9FF1-C4DE02E0BDAA}"/>
                </a:ext>
              </a:extLst>
            </p:cNvPr>
            <p:cNvGrpSpPr>
              <a:grpSpLocks noChangeAspect="1"/>
            </p:cNvGrpSpPr>
            <p:nvPr/>
          </p:nvGrpSpPr>
          <p:grpSpPr>
            <a:xfrm>
              <a:off x="1880349" y="2000399"/>
              <a:ext cx="227766" cy="227766"/>
              <a:chOff x="275183" y="2200270"/>
              <a:chExt cx="576064" cy="576064"/>
            </a:xfrm>
          </p:grpSpPr>
          <p:sp>
            <p:nvSpPr>
              <p:cNvPr id="59" name="Ellipse 58">
                <a:extLst>
                  <a:ext uri="{FF2B5EF4-FFF2-40B4-BE49-F238E27FC236}">
                    <a16:creationId xmlns:a16="http://schemas.microsoft.com/office/drawing/2014/main" xmlns="" id="{3D4810D7-DAD4-4A8B-AFF6-B0121A170660}"/>
                  </a:ext>
                </a:extLst>
              </p:cNvPr>
              <p:cNvSpPr/>
              <p:nvPr/>
            </p:nvSpPr>
            <p:spPr>
              <a:xfrm>
                <a:off x="275183" y="2200270"/>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0" name="Kreuz 59">
                <a:extLst>
                  <a:ext uri="{FF2B5EF4-FFF2-40B4-BE49-F238E27FC236}">
                    <a16:creationId xmlns:a16="http://schemas.microsoft.com/office/drawing/2014/main" xmlns="" id="{105A27FD-DBB2-450C-901C-122FCC745779}"/>
                  </a:ext>
                </a:extLst>
              </p:cNvPr>
              <p:cNvSpPr/>
              <p:nvPr/>
            </p:nvSpPr>
            <p:spPr>
              <a:xfrm>
                <a:off x="383195" y="2308282"/>
                <a:ext cx="360040" cy="360040"/>
              </a:xfrm>
              <a:prstGeom prst="plus">
                <a:avLst>
                  <a:gd name="adj" fmla="val 355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grpSp>
          <p:nvGrpSpPr>
            <p:cNvPr id="61" name="Gruppieren 60">
              <a:extLst>
                <a:ext uri="{FF2B5EF4-FFF2-40B4-BE49-F238E27FC236}">
                  <a16:creationId xmlns:a16="http://schemas.microsoft.com/office/drawing/2014/main" xmlns="" id="{A408DBFB-DE36-491A-9F19-80FAA4ED1F08}"/>
                </a:ext>
              </a:extLst>
            </p:cNvPr>
            <p:cNvGrpSpPr>
              <a:grpSpLocks noChangeAspect="1"/>
            </p:cNvGrpSpPr>
            <p:nvPr/>
          </p:nvGrpSpPr>
          <p:grpSpPr>
            <a:xfrm>
              <a:off x="1880349" y="5700420"/>
              <a:ext cx="227766" cy="227766"/>
              <a:chOff x="244903" y="2763008"/>
              <a:chExt cx="576064" cy="576064"/>
            </a:xfrm>
          </p:grpSpPr>
          <p:sp>
            <p:nvSpPr>
              <p:cNvPr id="62" name="Ellipse 61">
                <a:extLst>
                  <a:ext uri="{FF2B5EF4-FFF2-40B4-BE49-F238E27FC236}">
                    <a16:creationId xmlns:a16="http://schemas.microsoft.com/office/drawing/2014/main" xmlns="" id="{756F1197-5375-4289-B10C-16143B972D60}"/>
                  </a:ext>
                </a:extLst>
              </p:cNvPr>
              <p:cNvSpPr/>
              <p:nvPr/>
            </p:nvSpPr>
            <p:spPr>
              <a:xfrm>
                <a:off x="244903" y="2763008"/>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3" name="Rechteck 62">
                <a:extLst>
                  <a:ext uri="{FF2B5EF4-FFF2-40B4-BE49-F238E27FC236}">
                    <a16:creationId xmlns:a16="http://schemas.microsoft.com/office/drawing/2014/main" xmlns="" id="{94326DED-EDE4-46DC-8E23-6163F22094D7}"/>
                  </a:ext>
                </a:extLst>
              </p:cNvPr>
              <p:cNvSpPr/>
              <p:nvPr/>
            </p:nvSpPr>
            <p:spPr>
              <a:xfrm>
                <a:off x="379880" y="3002079"/>
                <a:ext cx="306110" cy="979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grpSp>
          <p:nvGrpSpPr>
            <p:cNvPr id="64" name="Gruppieren 63">
              <a:extLst>
                <a:ext uri="{FF2B5EF4-FFF2-40B4-BE49-F238E27FC236}">
                  <a16:creationId xmlns:a16="http://schemas.microsoft.com/office/drawing/2014/main" xmlns="" id="{1A70AA40-DFCD-460D-86A0-792F6A2AF927}"/>
                </a:ext>
              </a:extLst>
            </p:cNvPr>
            <p:cNvGrpSpPr>
              <a:grpSpLocks noChangeAspect="1"/>
            </p:cNvGrpSpPr>
            <p:nvPr/>
          </p:nvGrpSpPr>
          <p:grpSpPr>
            <a:xfrm>
              <a:off x="10109225" y="6192395"/>
              <a:ext cx="227766" cy="227766"/>
              <a:chOff x="275183" y="2200270"/>
              <a:chExt cx="576064" cy="576064"/>
            </a:xfrm>
          </p:grpSpPr>
          <p:sp>
            <p:nvSpPr>
              <p:cNvPr id="65" name="Ellipse 64">
                <a:extLst>
                  <a:ext uri="{FF2B5EF4-FFF2-40B4-BE49-F238E27FC236}">
                    <a16:creationId xmlns:a16="http://schemas.microsoft.com/office/drawing/2014/main" xmlns="" id="{3BCF5B43-42BB-4357-BBF8-A7E23B171D17}"/>
                  </a:ext>
                </a:extLst>
              </p:cNvPr>
              <p:cNvSpPr/>
              <p:nvPr/>
            </p:nvSpPr>
            <p:spPr>
              <a:xfrm>
                <a:off x="275183" y="2200270"/>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6" name="Kreuz 65">
                <a:extLst>
                  <a:ext uri="{FF2B5EF4-FFF2-40B4-BE49-F238E27FC236}">
                    <a16:creationId xmlns:a16="http://schemas.microsoft.com/office/drawing/2014/main" xmlns="" id="{0A8F5FB2-61B0-4EEB-880C-95CE0F492F77}"/>
                  </a:ext>
                </a:extLst>
              </p:cNvPr>
              <p:cNvSpPr/>
              <p:nvPr/>
            </p:nvSpPr>
            <p:spPr>
              <a:xfrm>
                <a:off x="383195" y="2308282"/>
                <a:ext cx="360040" cy="360040"/>
              </a:xfrm>
              <a:prstGeom prst="plus">
                <a:avLst>
                  <a:gd name="adj" fmla="val 355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grpSp>
          <p:nvGrpSpPr>
            <p:cNvPr id="67" name="Gruppieren 66">
              <a:extLst>
                <a:ext uri="{FF2B5EF4-FFF2-40B4-BE49-F238E27FC236}">
                  <a16:creationId xmlns:a16="http://schemas.microsoft.com/office/drawing/2014/main" xmlns="" id="{462146D2-A48B-445C-AD08-AF8445AA8378}"/>
                </a:ext>
              </a:extLst>
            </p:cNvPr>
            <p:cNvGrpSpPr>
              <a:grpSpLocks noChangeAspect="1"/>
            </p:cNvGrpSpPr>
            <p:nvPr/>
          </p:nvGrpSpPr>
          <p:grpSpPr>
            <a:xfrm>
              <a:off x="2369863" y="6192395"/>
              <a:ext cx="227766" cy="227766"/>
              <a:chOff x="244903" y="2763008"/>
              <a:chExt cx="576064" cy="576064"/>
            </a:xfrm>
          </p:grpSpPr>
          <p:sp>
            <p:nvSpPr>
              <p:cNvPr id="68" name="Ellipse 67">
                <a:extLst>
                  <a:ext uri="{FF2B5EF4-FFF2-40B4-BE49-F238E27FC236}">
                    <a16:creationId xmlns:a16="http://schemas.microsoft.com/office/drawing/2014/main" xmlns="" id="{42DB0DDA-EABF-4237-A4CB-DE82EE200560}"/>
                  </a:ext>
                </a:extLst>
              </p:cNvPr>
              <p:cNvSpPr/>
              <p:nvPr/>
            </p:nvSpPr>
            <p:spPr>
              <a:xfrm>
                <a:off x="244903" y="2763008"/>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9" name="Rechteck 68">
                <a:extLst>
                  <a:ext uri="{FF2B5EF4-FFF2-40B4-BE49-F238E27FC236}">
                    <a16:creationId xmlns:a16="http://schemas.microsoft.com/office/drawing/2014/main" xmlns="" id="{D7E294AE-519D-4FC6-8BCD-35CBDA3A1936}"/>
                  </a:ext>
                </a:extLst>
              </p:cNvPr>
              <p:cNvSpPr/>
              <p:nvPr/>
            </p:nvSpPr>
            <p:spPr>
              <a:xfrm>
                <a:off x="379880" y="3002079"/>
                <a:ext cx="306110" cy="979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cxnSp>
          <p:nvCxnSpPr>
            <p:cNvPr id="70" name="Gerade Verbindung mit Pfeil 69">
              <a:extLst>
                <a:ext uri="{FF2B5EF4-FFF2-40B4-BE49-F238E27FC236}">
                  <a16:creationId xmlns:a16="http://schemas.microsoft.com/office/drawing/2014/main" xmlns="" id="{C9A97610-A3DD-421B-AE1B-942C5959E68B}"/>
                </a:ext>
              </a:extLst>
            </p:cNvPr>
            <p:cNvCxnSpPr/>
            <p:nvPr/>
          </p:nvCxnSpPr>
          <p:spPr>
            <a:xfrm>
              <a:off x="2826914" y="6306278"/>
              <a:ext cx="7054609" cy="0"/>
            </a:xfrm>
            <a:prstGeom prst="straightConnector1">
              <a:avLst/>
            </a:prstGeom>
            <a:ln w="63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0" name="Text Box 20">
              <a:extLst>
                <a:ext uri="{FF2B5EF4-FFF2-40B4-BE49-F238E27FC236}">
                  <a16:creationId xmlns:a16="http://schemas.microsoft.com/office/drawing/2014/main" xmlns="" id="{FEBC49F3-C35F-4B85-8846-9586AD9BE82E}"/>
                </a:ext>
              </a:extLst>
            </p:cNvPr>
            <p:cNvSpPr txBox="1">
              <a:spLocks noChangeArrowheads="1"/>
            </p:cNvSpPr>
            <p:nvPr/>
          </p:nvSpPr>
          <p:spPr bwMode="auto">
            <a:xfrm>
              <a:off x="5380496" y="6111379"/>
              <a:ext cx="2000292" cy="339196"/>
            </a:xfrm>
            <a:prstGeom prst="rect">
              <a:avLst/>
            </a:prstGeom>
            <a:solidFill>
              <a:schemeClr val="bg1"/>
            </a:solidFill>
            <a:ln>
              <a:noFill/>
            </a:ln>
          </p:spPr>
          <p:txBody>
            <a:bodyPr wrap="none" lIns="92075" tIns="46038" rIns="92075" bIns="46038" anchor="t">
              <a:spAutoFit/>
            </a:bodyPr>
            <a:lstStyle>
              <a:lvl1pPr>
                <a:spcAft>
                  <a:spcPct val="0"/>
                </a:spcAft>
                <a:defRPr>
                  <a:solidFill>
                    <a:schemeClr val="tx1"/>
                  </a:solidFill>
                  <a:latin typeface="Arial" charset="0"/>
                </a:defRPr>
              </a:lvl1pPr>
              <a:lvl2pPr marL="742950" indent="-285750">
                <a:spcAft>
                  <a:spcPct val="0"/>
                </a:spcAft>
                <a:defRPr>
                  <a:solidFill>
                    <a:schemeClr val="tx1"/>
                  </a:solidFill>
                  <a:latin typeface="Arial" charset="0"/>
                </a:defRPr>
              </a:lvl2pPr>
              <a:lvl3pPr marL="1143000" indent="-228600">
                <a:spcAft>
                  <a:spcPct val="0"/>
                </a:spcAft>
                <a:defRPr>
                  <a:solidFill>
                    <a:schemeClr val="tx1"/>
                  </a:solidFill>
                  <a:latin typeface="Arial" charset="0"/>
                </a:defRPr>
              </a:lvl3pPr>
              <a:lvl4pPr marL="1600200" indent="-228600">
                <a:spcAft>
                  <a:spcPct val="0"/>
                </a:spcAft>
                <a:defRPr>
                  <a:solidFill>
                    <a:schemeClr val="tx1"/>
                  </a:solidFill>
                  <a:latin typeface="Arial" charset="0"/>
                </a:defRPr>
              </a:lvl4pPr>
              <a:lvl5pPr marL="2057400" indent="-228600">
                <a:spcAft>
                  <a:spcPct val="0"/>
                </a:spcAft>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SzTx/>
                <a:buFontTx/>
                <a:buNone/>
              </a:pPr>
              <a:r>
                <a:rPr lang="en-GB" sz="1600" dirty="0">
                  <a:latin typeface="+mn-lt"/>
                </a:rPr>
                <a:t>Relative Market share</a:t>
              </a:r>
              <a:endParaRPr lang="en-GB" sz="1600" dirty="0">
                <a:latin typeface="+mn-lt"/>
                <a:cs typeface="Calibri"/>
              </a:endParaRPr>
            </a:p>
          </p:txBody>
        </p:sp>
        <p:sp>
          <p:nvSpPr>
            <p:cNvPr id="111" name="Text Box 25">
              <a:extLst>
                <a:ext uri="{FF2B5EF4-FFF2-40B4-BE49-F238E27FC236}">
                  <a16:creationId xmlns:a16="http://schemas.microsoft.com/office/drawing/2014/main" xmlns="" id="{29D91A77-EE5E-4C0F-92CB-03C34DD424AF}"/>
                </a:ext>
              </a:extLst>
            </p:cNvPr>
            <p:cNvSpPr txBox="1">
              <a:spLocks noChangeArrowheads="1"/>
            </p:cNvSpPr>
            <p:nvPr/>
          </p:nvSpPr>
          <p:spPr bwMode="auto">
            <a:xfrm rot="16200000">
              <a:off x="1153681" y="3811211"/>
              <a:ext cx="1681105" cy="339196"/>
            </a:xfrm>
            <a:prstGeom prst="rect">
              <a:avLst/>
            </a:prstGeom>
            <a:solidFill>
              <a:schemeClr val="bg1"/>
            </a:solidFill>
            <a:ln>
              <a:noFill/>
            </a:ln>
          </p:spPr>
          <p:txBody>
            <a:bodyPr wrap="square" lIns="92075" tIns="46038" rIns="92075" bIns="46038" anchor="t">
              <a:spAutoFit/>
            </a:bodyPr>
            <a:lstStyle>
              <a:lvl1pPr>
                <a:spcAft>
                  <a:spcPct val="0"/>
                </a:spcAft>
                <a:defRPr>
                  <a:solidFill>
                    <a:schemeClr val="tx1"/>
                  </a:solidFill>
                  <a:latin typeface="Arial" charset="0"/>
                </a:defRPr>
              </a:lvl1pPr>
              <a:lvl2pPr marL="742950" indent="-285750">
                <a:spcAft>
                  <a:spcPct val="0"/>
                </a:spcAft>
                <a:defRPr>
                  <a:solidFill>
                    <a:schemeClr val="tx1"/>
                  </a:solidFill>
                  <a:latin typeface="Arial" charset="0"/>
                </a:defRPr>
              </a:lvl2pPr>
              <a:lvl3pPr marL="1143000" indent="-228600">
                <a:spcAft>
                  <a:spcPct val="0"/>
                </a:spcAft>
                <a:defRPr>
                  <a:solidFill>
                    <a:schemeClr val="tx1"/>
                  </a:solidFill>
                  <a:latin typeface="Arial" charset="0"/>
                </a:defRPr>
              </a:lvl3pPr>
              <a:lvl4pPr marL="1600200" indent="-228600">
                <a:spcAft>
                  <a:spcPct val="0"/>
                </a:spcAft>
                <a:defRPr>
                  <a:solidFill>
                    <a:schemeClr val="tx1"/>
                  </a:solidFill>
                  <a:latin typeface="Arial" charset="0"/>
                </a:defRPr>
              </a:lvl4pPr>
              <a:lvl5pPr marL="2057400" indent="-228600">
                <a:spcAft>
                  <a:spcPct val="0"/>
                </a:spcAft>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SzTx/>
                <a:buFontTx/>
                <a:buNone/>
              </a:pPr>
              <a:r>
                <a:rPr lang="en-GB" sz="1600" dirty="0">
                  <a:latin typeface="+mn-lt"/>
                </a:rPr>
                <a:t>Growth of Market</a:t>
              </a:r>
              <a:endParaRPr lang="en-GB" sz="1600" dirty="0">
                <a:latin typeface="+mn-lt"/>
                <a:cs typeface="Calibri"/>
              </a:endParaRPr>
            </a:p>
          </p:txBody>
        </p:sp>
        <p:sp>
          <p:nvSpPr>
            <p:cNvPr id="112" name="Freeform 5">
              <a:extLst>
                <a:ext uri="{FF2B5EF4-FFF2-40B4-BE49-F238E27FC236}">
                  <a16:creationId xmlns:a16="http://schemas.microsoft.com/office/drawing/2014/main" xmlns="" id="{8443DB19-1E0A-435C-948A-61967BE193B3}"/>
                </a:ext>
              </a:extLst>
            </p:cNvPr>
            <p:cNvSpPr>
              <a:spLocks/>
            </p:cNvSpPr>
            <p:nvPr/>
          </p:nvSpPr>
          <p:spPr bwMode="auto">
            <a:xfrm>
              <a:off x="3877428" y="4157724"/>
              <a:ext cx="713210" cy="503673"/>
            </a:xfrm>
            <a:custGeom>
              <a:avLst/>
              <a:gdLst>
                <a:gd name="T0" fmla="*/ 210 w 306"/>
                <a:gd name="T1" fmla="*/ 21 h 216"/>
                <a:gd name="T2" fmla="*/ 124 w 306"/>
                <a:gd name="T3" fmla="*/ 21 h 216"/>
                <a:gd name="T4" fmla="*/ 72 w 306"/>
                <a:gd name="T5" fmla="*/ 59 h 216"/>
                <a:gd name="T6" fmla="*/ 24 w 306"/>
                <a:gd name="T7" fmla="*/ 72 h 216"/>
                <a:gd name="T8" fmla="*/ 4 w 306"/>
                <a:gd name="T9" fmla="*/ 84 h 216"/>
                <a:gd name="T10" fmla="*/ 62 w 306"/>
                <a:gd name="T11" fmla="*/ 156 h 216"/>
                <a:gd name="T12" fmla="*/ 137 w 306"/>
                <a:gd name="T13" fmla="*/ 158 h 216"/>
                <a:gd name="T14" fmla="*/ 188 w 306"/>
                <a:gd name="T15" fmla="*/ 216 h 216"/>
                <a:gd name="T16" fmla="*/ 296 w 306"/>
                <a:gd name="T17" fmla="*/ 132 h 216"/>
                <a:gd name="T18" fmla="*/ 210 w 306"/>
                <a:gd name="T19"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216">
                  <a:moveTo>
                    <a:pt x="210" y="21"/>
                  </a:moveTo>
                  <a:cubicBezTo>
                    <a:pt x="159" y="0"/>
                    <a:pt x="132" y="15"/>
                    <a:pt x="124" y="21"/>
                  </a:cubicBezTo>
                  <a:cubicBezTo>
                    <a:pt x="117" y="26"/>
                    <a:pt x="117" y="46"/>
                    <a:pt x="72" y="59"/>
                  </a:cubicBezTo>
                  <a:cubicBezTo>
                    <a:pt x="28" y="72"/>
                    <a:pt x="31" y="72"/>
                    <a:pt x="24" y="72"/>
                  </a:cubicBezTo>
                  <a:cubicBezTo>
                    <a:pt x="16" y="72"/>
                    <a:pt x="7" y="65"/>
                    <a:pt x="4" y="84"/>
                  </a:cubicBezTo>
                  <a:cubicBezTo>
                    <a:pt x="0" y="121"/>
                    <a:pt x="35" y="152"/>
                    <a:pt x="62" y="156"/>
                  </a:cubicBezTo>
                  <a:cubicBezTo>
                    <a:pt x="89" y="160"/>
                    <a:pt x="93" y="139"/>
                    <a:pt x="137" y="158"/>
                  </a:cubicBezTo>
                  <a:cubicBezTo>
                    <a:pt x="181" y="177"/>
                    <a:pt x="188" y="216"/>
                    <a:pt x="188" y="216"/>
                  </a:cubicBezTo>
                  <a:cubicBezTo>
                    <a:pt x="188" y="216"/>
                    <a:pt x="306" y="158"/>
                    <a:pt x="296" y="132"/>
                  </a:cubicBezTo>
                  <a:cubicBezTo>
                    <a:pt x="283" y="97"/>
                    <a:pt x="210" y="21"/>
                    <a:pt x="210" y="21"/>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6">
              <a:extLst>
                <a:ext uri="{FF2B5EF4-FFF2-40B4-BE49-F238E27FC236}">
                  <a16:creationId xmlns:a16="http://schemas.microsoft.com/office/drawing/2014/main" xmlns="" id="{37E25A22-1212-48BC-9FC4-67390A62A94A}"/>
                </a:ext>
              </a:extLst>
            </p:cNvPr>
            <p:cNvSpPr>
              <a:spLocks/>
            </p:cNvSpPr>
            <p:nvPr/>
          </p:nvSpPr>
          <p:spPr bwMode="auto">
            <a:xfrm>
              <a:off x="4325029" y="4530560"/>
              <a:ext cx="1975345" cy="1432321"/>
            </a:xfrm>
            <a:custGeom>
              <a:avLst/>
              <a:gdLst>
                <a:gd name="T0" fmla="*/ 121 w 848"/>
                <a:gd name="T1" fmla="*/ 0 h 614"/>
                <a:gd name="T2" fmla="*/ 240 w 848"/>
                <a:gd name="T3" fmla="*/ 79 h 614"/>
                <a:gd name="T4" fmla="*/ 625 w 848"/>
                <a:gd name="T5" fmla="*/ 128 h 614"/>
                <a:gd name="T6" fmla="*/ 665 w 848"/>
                <a:gd name="T7" fmla="*/ 251 h 614"/>
                <a:gd name="T8" fmla="*/ 841 w 848"/>
                <a:gd name="T9" fmla="*/ 394 h 614"/>
                <a:gd name="T10" fmla="*/ 660 w 848"/>
                <a:gd name="T11" fmla="*/ 289 h 614"/>
                <a:gd name="T12" fmla="*/ 742 w 848"/>
                <a:gd name="T13" fmla="*/ 456 h 614"/>
                <a:gd name="T14" fmla="*/ 746 w 848"/>
                <a:gd name="T15" fmla="*/ 614 h 614"/>
                <a:gd name="T16" fmla="*/ 691 w 848"/>
                <a:gd name="T17" fmla="*/ 614 h 614"/>
                <a:gd name="T18" fmla="*/ 701 w 848"/>
                <a:gd name="T19" fmla="*/ 509 h 614"/>
                <a:gd name="T20" fmla="*/ 651 w 848"/>
                <a:gd name="T21" fmla="*/ 417 h 614"/>
                <a:gd name="T22" fmla="*/ 646 w 848"/>
                <a:gd name="T23" fmla="*/ 614 h 614"/>
                <a:gd name="T24" fmla="*/ 584 w 848"/>
                <a:gd name="T25" fmla="*/ 614 h 614"/>
                <a:gd name="T26" fmla="*/ 617 w 848"/>
                <a:gd name="T27" fmla="*/ 547 h 614"/>
                <a:gd name="T28" fmla="*/ 576 w 848"/>
                <a:gd name="T29" fmla="*/ 420 h 614"/>
                <a:gd name="T30" fmla="*/ 444 w 848"/>
                <a:gd name="T31" fmla="*/ 289 h 614"/>
                <a:gd name="T32" fmla="*/ 207 w 848"/>
                <a:gd name="T33" fmla="*/ 389 h 614"/>
                <a:gd name="T34" fmla="*/ 160 w 848"/>
                <a:gd name="T35" fmla="*/ 614 h 614"/>
                <a:gd name="T36" fmla="*/ 108 w 848"/>
                <a:gd name="T37" fmla="*/ 614 h 614"/>
                <a:gd name="T38" fmla="*/ 133 w 848"/>
                <a:gd name="T39" fmla="*/ 417 h 614"/>
                <a:gd name="T40" fmla="*/ 120 w 848"/>
                <a:gd name="T41" fmla="*/ 372 h 614"/>
                <a:gd name="T42" fmla="*/ 77 w 848"/>
                <a:gd name="T43" fmla="*/ 614 h 614"/>
                <a:gd name="T44" fmla="*/ 29 w 848"/>
                <a:gd name="T45" fmla="*/ 614 h 614"/>
                <a:gd name="T46" fmla="*/ 47 w 848"/>
                <a:gd name="T47" fmla="*/ 265 h 614"/>
                <a:gd name="T48" fmla="*/ 8 w 848"/>
                <a:gd name="T49" fmla="*/ 124 h 614"/>
                <a:gd name="T50" fmla="*/ 121 w 848"/>
                <a:gd name="T51"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8" h="614">
                  <a:moveTo>
                    <a:pt x="121" y="0"/>
                  </a:moveTo>
                  <a:cubicBezTo>
                    <a:pt x="123" y="10"/>
                    <a:pt x="180" y="67"/>
                    <a:pt x="240" y="79"/>
                  </a:cubicBezTo>
                  <a:cubicBezTo>
                    <a:pt x="299" y="90"/>
                    <a:pt x="587" y="68"/>
                    <a:pt x="625" y="128"/>
                  </a:cubicBezTo>
                  <a:cubicBezTo>
                    <a:pt x="664" y="188"/>
                    <a:pt x="661" y="243"/>
                    <a:pt x="665" y="251"/>
                  </a:cubicBezTo>
                  <a:cubicBezTo>
                    <a:pt x="707" y="335"/>
                    <a:pt x="848" y="389"/>
                    <a:pt x="841" y="394"/>
                  </a:cubicBezTo>
                  <a:cubicBezTo>
                    <a:pt x="831" y="399"/>
                    <a:pt x="766" y="398"/>
                    <a:pt x="660" y="289"/>
                  </a:cubicBezTo>
                  <a:cubicBezTo>
                    <a:pt x="633" y="261"/>
                    <a:pt x="727" y="439"/>
                    <a:pt x="742" y="456"/>
                  </a:cubicBezTo>
                  <a:cubicBezTo>
                    <a:pt x="762" y="479"/>
                    <a:pt x="749" y="603"/>
                    <a:pt x="746" y="614"/>
                  </a:cubicBezTo>
                  <a:cubicBezTo>
                    <a:pt x="691" y="614"/>
                    <a:pt x="691" y="614"/>
                    <a:pt x="691" y="614"/>
                  </a:cubicBezTo>
                  <a:cubicBezTo>
                    <a:pt x="691" y="614"/>
                    <a:pt x="719" y="555"/>
                    <a:pt x="701" y="509"/>
                  </a:cubicBezTo>
                  <a:cubicBezTo>
                    <a:pt x="686" y="469"/>
                    <a:pt x="651" y="417"/>
                    <a:pt x="651" y="417"/>
                  </a:cubicBezTo>
                  <a:cubicBezTo>
                    <a:pt x="651" y="417"/>
                    <a:pt x="684" y="537"/>
                    <a:pt x="646" y="614"/>
                  </a:cubicBezTo>
                  <a:cubicBezTo>
                    <a:pt x="584" y="614"/>
                    <a:pt x="584" y="614"/>
                    <a:pt x="584" y="614"/>
                  </a:cubicBezTo>
                  <a:cubicBezTo>
                    <a:pt x="584" y="614"/>
                    <a:pt x="614" y="568"/>
                    <a:pt x="617" y="547"/>
                  </a:cubicBezTo>
                  <a:cubicBezTo>
                    <a:pt x="621" y="526"/>
                    <a:pt x="623" y="475"/>
                    <a:pt x="576" y="420"/>
                  </a:cubicBezTo>
                  <a:cubicBezTo>
                    <a:pt x="529" y="365"/>
                    <a:pt x="473" y="290"/>
                    <a:pt x="444" y="289"/>
                  </a:cubicBezTo>
                  <a:cubicBezTo>
                    <a:pt x="389" y="286"/>
                    <a:pt x="260" y="338"/>
                    <a:pt x="207" y="389"/>
                  </a:cubicBezTo>
                  <a:cubicBezTo>
                    <a:pt x="179" y="415"/>
                    <a:pt x="162" y="573"/>
                    <a:pt x="160" y="614"/>
                  </a:cubicBezTo>
                  <a:cubicBezTo>
                    <a:pt x="108" y="614"/>
                    <a:pt x="108" y="614"/>
                    <a:pt x="108" y="614"/>
                  </a:cubicBezTo>
                  <a:cubicBezTo>
                    <a:pt x="108" y="614"/>
                    <a:pt x="138" y="384"/>
                    <a:pt x="133" y="417"/>
                  </a:cubicBezTo>
                  <a:cubicBezTo>
                    <a:pt x="130" y="434"/>
                    <a:pt x="138" y="367"/>
                    <a:pt x="120" y="372"/>
                  </a:cubicBezTo>
                  <a:cubicBezTo>
                    <a:pt x="105" y="376"/>
                    <a:pt x="77" y="614"/>
                    <a:pt x="77" y="614"/>
                  </a:cubicBezTo>
                  <a:cubicBezTo>
                    <a:pt x="29" y="614"/>
                    <a:pt x="29" y="614"/>
                    <a:pt x="29" y="614"/>
                  </a:cubicBezTo>
                  <a:cubicBezTo>
                    <a:pt x="29" y="614"/>
                    <a:pt x="73" y="333"/>
                    <a:pt x="47" y="265"/>
                  </a:cubicBezTo>
                  <a:cubicBezTo>
                    <a:pt x="27" y="211"/>
                    <a:pt x="0" y="162"/>
                    <a:pt x="8" y="124"/>
                  </a:cubicBezTo>
                  <a:cubicBezTo>
                    <a:pt x="20" y="65"/>
                    <a:pt x="121" y="0"/>
                    <a:pt x="121"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14">
              <a:extLst>
                <a:ext uri="{FF2B5EF4-FFF2-40B4-BE49-F238E27FC236}">
                  <a16:creationId xmlns:a16="http://schemas.microsoft.com/office/drawing/2014/main" xmlns="" id="{B04ED7D0-D251-43A6-82C5-4FD82E929B65}"/>
                </a:ext>
              </a:extLst>
            </p:cNvPr>
            <p:cNvSpPr>
              <a:spLocks/>
            </p:cNvSpPr>
            <p:nvPr/>
          </p:nvSpPr>
          <p:spPr bwMode="auto">
            <a:xfrm>
              <a:off x="8475110" y="2153439"/>
              <a:ext cx="1851534" cy="1762165"/>
            </a:xfrm>
            <a:custGeom>
              <a:avLst/>
              <a:gdLst>
                <a:gd name="T0" fmla="*/ 809 w 1616"/>
                <a:gd name="T1" fmla="*/ 0 h 1538"/>
                <a:gd name="T2" fmla="*/ 586 w 1616"/>
                <a:gd name="T3" fmla="*/ 543 h 1538"/>
                <a:gd name="T4" fmla="*/ 0 w 1616"/>
                <a:gd name="T5" fmla="*/ 586 h 1538"/>
                <a:gd name="T6" fmla="*/ 448 w 1616"/>
                <a:gd name="T7" fmla="*/ 966 h 1538"/>
                <a:gd name="T8" fmla="*/ 308 w 1616"/>
                <a:gd name="T9" fmla="*/ 1538 h 1538"/>
                <a:gd name="T10" fmla="*/ 809 w 1616"/>
                <a:gd name="T11" fmla="*/ 1229 h 1538"/>
                <a:gd name="T12" fmla="*/ 1307 w 1616"/>
                <a:gd name="T13" fmla="*/ 1538 h 1538"/>
                <a:gd name="T14" fmla="*/ 1167 w 1616"/>
                <a:gd name="T15" fmla="*/ 966 h 1538"/>
                <a:gd name="T16" fmla="*/ 1616 w 1616"/>
                <a:gd name="T17" fmla="*/ 586 h 1538"/>
                <a:gd name="T18" fmla="*/ 1029 w 1616"/>
                <a:gd name="T19" fmla="*/ 543 h 1538"/>
                <a:gd name="T20" fmla="*/ 809 w 1616"/>
                <a:gd name="T21"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6" h="1538">
                  <a:moveTo>
                    <a:pt x="809" y="0"/>
                  </a:moveTo>
                  <a:lnTo>
                    <a:pt x="586" y="543"/>
                  </a:lnTo>
                  <a:lnTo>
                    <a:pt x="0" y="586"/>
                  </a:lnTo>
                  <a:lnTo>
                    <a:pt x="448" y="966"/>
                  </a:lnTo>
                  <a:lnTo>
                    <a:pt x="308" y="1538"/>
                  </a:lnTo>
                  <a:lnTo>
                    <a:pt x="809" y="1229"/>
                  </a:lnTo>
                  <a:lnTo>
                    <a:pt x="1307" y="1538"/>
                  </a:lnTo>
                  <a:lnTo>
                    <a:pt x="1167" y="966"/>
                  </a:lnTo>
                  <a:lnTo>
                    <a:pt x="1616" y="586"/>
                  </a:lnTo>
                  <a:lnTo>
                    <a:pt x="1029" y="543"/>
                  </a:lnTo>
                  <a:lnTo>
                    <a:pt x="809"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5" name="Freeform 18">
              <a:extLst>
                <a:ext uri="{FF2B5EF4-FFF2-40B4-BE49-F238E27FC236}">
                  <a16:creationId xmlns:a16="http://schemas.microsoft.com/office/drawing/2014/main" xmlns="" id="{A85A1B15-A1BB-42EF-8603-1DCACDA12CE1}"/>
                </a:ext>
              </a:extLst>
            </p:cNvPr>
            <p:cNvSpPr>
              <a:spLocks noEditPoints="1"/>
            </p:cNvSpPr>
            <p:nvPr/>
          </p:nvSpPr>
          <p:spPr bwMode="auto">
            <a:xfrm>
              <a:off x="5122545" y="2112697"/>
              <a:ext cx="1123507" cy="1775061"/>
            </a:xfrm>
            <a:custGeom>
              <a:avLst/>
              <a:gdLst>
                <a:gd name="T0" fmla="*/ 263 w 474"/>
                <a:gd name="T1" fmla="*/ 590 h 750"/>
                <a:gd name="T2" fmla="*/ 195 w 474"/>
                <a:gd name="T3" fmla="*/ 562 h 750"/>
                <a:gd name="T4" fmla="*/ 126 w 474"/>
                <a:gd name="T5" fmla="*/ 590 h 750"/>
                <a:gd name="T6" fmla="*/ 97 w 474"/>
                <a:gd name="T7" fmla="*/ 656 h 750"/>
                <a:gd name="T8" fmla="*/ 126 w 474"/>
                <a:gd name="T9" fmla="*/ 722 h 750"/>
                <a:gd name="T10" fmla="*/ 195 w 474"/>
                <a:gd name="T11" fmla="*/ 750 h 750"/>
                <a:gd name="T12" fmla="*/ 263 w 474"/>
                <a:gd name="T13" fmla="*/ 722 h 750"/>
                <a:gd name="T14" fmla="*/ 292 w 474"/>
                <a:gd name="T15" fmla="*/ 656 h 750"/>
                <a:gd name="T16" fmla="*/ 263 w 474"/>
                <a:gd name="T17" fmla="*/ 590 h 750"/>
                <a:gd name="T18" fmla="*/ 406 w 474"/>
                <a:gd name="T19" fmla="*/ 58 h 750"/>
                <a:gd name="T20" fmla="*/ 226 w 474"/>
                <a:gd name="T21" fmla="*/ 0 h 750"/>
                <a:gd name="T22" fmla="*/ 66 w 474"/>
                <a:gd name="T23" fmla="*/ 41 h 750"/>
                <a:gd name="T24" fmla="*/ 0 w 474"/>
                <a:gd name="T25" fmla="*/ 139 h 750"/>
                <a:gd name="T26" fmla="*/ 22 w 474"/>
                <a:gd name="T27" fmla="*/ 199 h 750"/>
                <a:gd name="T28" fmla="*/ 83 w 474"/>
                <a:gd name="T29" fmla="*/ 223 h 750"/>
                <a:gd name="T30" fmla="*/ 147 w 474"/>
                <a:gd name="T31" fmla="*/ 204 h 750"/>
                <a:gd name="T32" fmla="*/ 170 w 474"/>
                <a:gd name="T33" fmla="*/ 149 h 750"/>
                <a:gd name="T34" fmla="*/ 163 w 474"/>
                <a:gd name="T35" fmla="*/ 102 h 750"/>
                <a:gd name="T36" fmla="*/ 151 w 474"/>
                <a:gd name="T37" fmla="*/ 60 h 750"/>
                <a:gd name="T38" fmla="*/ 182 w 474"/>
                <a:gd name="T39" fmla="*/ 46 h 750"/>
                <a:gd name="T40" fmla="*/ 219 w 474"/>
                <a:gd name="T41" fmla="*/ 42 h 750"/>
                <a:gd name="T42" fmla="*/ 297 w 474"/>
                <a:gd name="T43" fmla="*/ 75 h 750"/>
                <a:gd name="T44" fmla="*/ 327 w 474"/>
                <a:gd name="T45" fmla="*/ 164 h 750"/>
                <a:gd name="T46" fmla="*/ 285 w 474"/>
                <a:gd name="T47" fmla="*/ 273 h 750"/>
                <a:gd name="T48" fmla="*/ 170 w 474"/>
                <a:gd name="T49" fmla="*/ 320 h 750"/>
                <a:gd name="T50" fmla="*/ 170 w 474"/>
                <a:gd name="T51" fmla="*/ 517 h 750"/>
                <a:gd name="T52" fmla="*/ 215 w 474"/>
                <a:gd name="T53" fmla="*/ 517 h 750"/>
                <a:gd name="T54" fmla="*/ 218 w 474"/>
                <a:gd name="T55" fmla="*/ 448 h 750"/>
                <a:gd name="T56" fmla="*/ 405 w 474"/>
                <a:gd name="T57" fmla="*/ 375 h 750"/>
                <a:gd name="T58" fmla="*/ 474 w 474"/>
                <a:gd name="T59" fmla="*/ 210 h 750"/>
                <a:gd name="T60" fmla="*/ 406 w 474"/>
                <a:gd name="T61" fmla="*/ 58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4" h="750">
                  <a:moveTo>
                    <a:pt x="263" y="590"/>
                  </a:moveTo>
                  <a:cubicBezTo>
                    <a:pt x="244" y="571"/>
                    <a:pt x="221" y="562"/>
                    <a:pt x="195" y="562"/>
                  </a:cubicBezTo>
                  <a:cubicBezTo>
                    <a:pt x="169" y="562"/>
                    <a:pt x="146" y="571"/>
                    <a:pt x="126" y="590"/>
                  </a:cubicBezTo>
                  <a:cubicBezTo>
                    <a:pt x="107" y="608"/>
                    <a:pt x="97" y="631"/>
                    <a:pt x="97" y="656"/>
                  </a:cubicBezTo>
                  <a:cubicBezTo>
                    <a:pt x="97" y="682"/>
                    <a:pt x="107" y="704"/>
                    <a:pt x="126" y="722"/>
                  </a:cubicBezTo>
                  <a:cubicBezTo>
                    <a:pt x="146" y="741"/>
                    <a:pt x="169" y="750"/>
                    <a:pt x="195" y="750"/>
                  </a:cubicBezTo>
                  <a:cubicBezTo>
                    <a:pt x="221" y="750"/>
                    <a:pt x="244" y="741"/>
                    <a:pt x="263" y="722"/>
                  </a:cubicBezTo>
                  <a:cubicBezTo>
                    <a:pt x="282" y="704"/>
                    <a:pt x="292" y="682"/>
                    <a:pt x="292" y="656"/>
                  </a:cubicBezTo>
                  <a:cubicBezTo>
                    <a:pt x="292" y="631"/>
                    <a:pt x="282" y="608"/>
                    <a:pt x="263" y="590"/>
                  </a:cubicBezTo>
                  <a:moveTo>
                    <a:pt x="406" y="58"/>
                  </a:moveTo>
                  <a:cubicBezTo>
                    <a:pt x="360" y="19"/>
                    <a:pt x="300" y="0"/>
                    <a:pt x="226" y="0"/>
                  </a:cubicBezTo>
                  <a:cubicBezTo>
                    <a:pt x="164" y="0"/>
                    <a:pt x="111" y="14"/>
                    <a:pt x="66" y="41"/>
                  </a:cubicBezTo>
                  <a:cubicBezTo>
                    <a:pt x="22" y="68"/>
                    <a:pt x="0" y="101"/>
                    <a:pt x="0" y="139"/>
                  </a:cubicBezTo>
                  <a:cubicBezTo>
                    <a:pt x="0" y="163"/>
                    <a:pt x="7" y="183"/>
                    <a:pt x="22" y="199"/>
                  </a:cubicBezTo>
                  <a:cubicBezTo>
                    <a:pt x="37" y="215"/>
                    <a:pt x="57" y="223"/>
                    <a:pt x="83" y="223"/>
                  </a:cubicBezTo>
                  <a:cubicBezTo>
                    <a:pt x="110" y="223"/>
                    <a:pt x="131" y="217"/>
                    <a:pt x="147" y="204"/>
                  </a:cubicBezTo>
                  <a:cubicBezTo>
                    <a:pt x="162" y="191"/>
                    <a:pt x="170" y="173"/>
                    <a:pt x="170" y="149"/>
                  </a:cubicBezTo>
                  <a:cubicBezTo>
                    <a:pt x="170" y="135"/>
                    <a:pt x="167" y="119"/>
                    <a:pt x="163" y="102"/>
                  </a:cubicBezTo>
                  <a:cubicBezTo>
                    <a:pt x="158" y="85"/>
                    <a:pt x="154" y="71"/>
                    <a:pt x="151" y="60"/>
                  </a:cubicBezTo>
                  <a:cubicBezTo>
                    <a:pt x="161" y="54"/>
                    <a:pt x="171" y="49"/>
                    <a:pt x="182" y="46"/>
                  </a:cubicBezTo>
                  <a:cubicBezTo>
                    <a:pt x="193" y="44"/>
                    <a:pt x="205" y="42"/>
                    <a:pt x="219" y="42"/>
                  </a:cubicBezTo>
                  <a:cubicBezTo>
                    <a:pt x="252" y="42"/>
                    <a:pt x="278" y="53"/>
                    <a:pt x="297" y="75"/>
                  </a:cubicBezTo>
                  <a:cubicBezTo>
                    <a:pt x="317" y="97"/>
                    <a:pt x="327" y="127"/>
                    <a:pt x="327" y="164"/>
                  </a:cubicBezTo>
                  <a:cubicBezTo>
                    <a:pt x="327" y="210"/>
                    <a:pt x="313" y="246"/>
                    <a:pt x="285" y="273"/>
                  </a:cubicBezTo>
                  <a:cubicBezTo>
                    <a:pt x="257" y="300"/>
                    <a:pt x="219" y="316"/>
                    <a:pt x="170" y="320"/>
                  </a:cubicBezTo>
                  <a:cubicBezTo>
                    <a:pt x="170" y="517"/>
                    <a:pt x="170" y="517"/>
                    <a:pt x="170" y="517"/>
                  </a:cubicBezTo>
                  <a:cubicBezTo>
                    <a:pt x="215" y="517"/>
                    <a:pt x="215" y="517"/>
                    <a:pt x="215" y="517"/>
                  </a:cubicBezTo>
                  <a:cubicBezTo>
                    <a:pt x="218" y="448"/>
                    <a:pt x="218" y="448"/>
                    <a:pt x="218" y="448"/>
                  </a:cubicBezTo>
                  <a:cubicBezTo>
                    <a:pt x="296" y="442"/>
                    <a:pt x="358" y="418"/>
                    <a:pt x="405" y="375"/>
                  </a:cubicBezTo>
                  <a:cubicBezTo>
                    <a:pt x="451" y="333"/>
                    <a:pt x="474" y="278"/>
                    <a:pt x="474" y="210"/>
                  </a:cubicBezTo>
                  <a:cubicBezTo>
                    <a:pt x="474" y="147"/>
                    <a:pt x="452" y="96"/>
                    <a:pt x="406" y="58"/>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Freeform 5">
              <a:extLst>
                <a:ext uri="{FF2B5EF4-FFF2-40B4-BE49-F238E27FC236}">
                  <a16:creationId xmlns:a16="http://schemas.microsoft.com/office/drawing/2014/main" xmlns="" id="{FECFE29F-B5A1-422E-8AEB-F2C0C4BBE3FE}"/>
                </a:ext>
              </a:extLst>
            </p:cNvPr>
            <p:cNvSpPr>
              <a:spLocks/>
            </p:cNvSpPr>
            <p:nvPr/>
          </p:nvSpPr>
          <p:spPr bwMode="auto">
            <a:xfrm>
              <a:off x="7438195" y="4141465"/>
              <a:ext cx="2829907" cy="1813505"/>
            </a:xfrm>
            <a:custGeom>
              <a:avLst/>
              <a:gdLst>
                <a:gd name="T0" fmla="*/ 453 w 1254"/>
                <a:gd name="T1" fmla="*/ 472 h 802"/>
                <a:gd name="T2" fmla="*/ 477 w 1254"/>
                <a:gd name="T3" fmla="*/ 762 h 802"/>
                <a:gd name="T4" fmla="*/ 460 w 1254"/>
                <a:gd name="T5" fmla="*/ 802 h 802"/>
                <a:gd name="T6" fmla="*/ 519 w 1254"/>
                <a:gd name="T7" fmla="*/ 802 h 802"/>
                <a:gd name="T8" fmla="*/ 548 w 1254"/>
                <a:gd name="T9" fmla="*/ 802 h 802"/>
                <a:gd name="T10" fmla="*/ 560 w 1254"/>
                <a:gd name="T11" fmla="*/ 541 h 802"/>
                <a:gd name="T12" fmla="*/ 729 w 1254"/>
                <a:gd name="T13" fmla="*/ 523 h 802"/>
                <a:gd name="T14" fmla="*/ 915 w 1254"/>
                <a:gd name="T15" fmla="*/ 469 h 802"/>
                <a:gd name="T16" fmla="*/ 960 w 1254"/>
                <a:gd name="T17" fmla="*/ 528 h 802"/>
                <a:gd name="T18" fmla="*/ 1048 w 1254"/>
                <a:gd name="T19" fmla="*/ 566 h 802"/>
                <a:gd name="T20" fmla="*/ 1023 w 1254"/>
                <a:gd name="T21" fmla="*/ 712 h 802"/>
                <a:gd name="T22" fmla="*/ 975 w 1254"/>
                <a:gd name="T23" fmla="*/ 802 h 802"/>
                <a:gd name="T24" fmla="*/ 1037 w 1254"/>
                <a:gd name="T25" fmla="*/ 802 h 802"/>
                <a:gd name="T26" fmla="*/ 1119 w 1254"/>
                <a:gd name="T27" fmla="*/ 605 h 802"/>
                <a:gd name="T28" fmla="*/ 1126 w 1254"/>
                <a:gd name="T29" fmla="*/ 802 h 802"/>
                <a:gd name="T30" fmla="*/ 1181 w 1254"/>
                <a:gd name="T31" fmla="*/ 802 h 802"/>
                <a:gd name="T32" fmla="*/ 1191 w 1254"/>
                <a:gd name="T33" fmla="*/ 397 h 802"/>
                <a:gd name="T34" fmla="*/ 1205 w 1254"/>
                <a:gd name="T35" fmla="*/ 268 h 802"/>
                <a:gd name="T36" fmla="*/ 1211 w 1254"/>
                <a:gd name="T37" fmla="*/ 569 h 802"/>
                <a:gd name="T38" fmla="*/ 1234 w 1254"/>
                <a:gd name="T39" fmla="*/ 545 h 802"/>
                <a:gd name="T40" fmla="*/ 1229 w 1254"/>
                <a:gd name="T41" fmla="*/ 172 h 802"/>
                <a:gd name="T42" fmla="*/ 1117 w 1254"/>
                <a:gd name="T43" fmla="*/ 71 h 802"/>
                <a:gd name="T44" fmla="*/ 460 w 1254"/>
                <a:gd name="T45" fmla="*/ 76 h 802"/>
                <a:gd name="T46" fmla="*/ 125 w 1254"/>
                <a:gd name="T47" fmla="*/ 41 h 802"/>
                <a:gd name="T48" fmla="*/ 97 w 1254"/>
                <a:gd name="T49" fmla="*/ 0 h 802"/>
                <a:gd name="T50" fmla="*/ 92 w 1254"/>
                <a:gd name="T51" fmla="*/ 62 h 802"/>
                <a:gd name="T52" fmla="*/ 80 w 1254"/>
                <a:gd name="T53" fmla="*/ 126 h 802"/>
                <a:gd name="T54" fmla="*/ 70 w 1254"/>
                <a:gd name="T55" fmla="*/ 169 h 802"/>
                <a:gd name="T56" fmla="*/ 37 w 1254"/>
                <a:gd name="T57" fmla="*/ 251 h 802"/>
                <a:gd name="T58" fmla="*/ 1 w 1254"/>
                <a:gd name="T59" fmla="*/ 293 h 802"/>
                <a:gd name="T60" fmla="*/ 73 w 1254"/>
                <a:gd name="T61" fmla="*/ 334 h 802"/>
                <a:gd name="T62" fmla="*/ 105 w 1254"/>
                <a:gd name="T63" fmla="*/ 312 h 802"/>
                <a:gd name="T64" fmla="*/ 226 w 1254"/>
                <a:gd name="T65" fmla="*/ 281 h 802"/>
                <a:gd name="T66" fmla="*/ 453 w 1254"/>
                <a:gd name="T67" fmla="*/ 47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4" h="802">
                  <a:moveTo>
                    <a:pt x="453" y="472"/>
                  </a:moveTo>
                  <a:cubicBezTo>
                    <a:pt x="474" y="492"/>
                    <a:pt x="508" y="554"/>
                    <a:pt x="477" y="762"/>
                  </a:cubicBezTo>
                  <a:cubicBezTo>
                    <a:pt x="475" y="780"/>
                    <a:pt x="456" y="793"/>
                    <a:pt x="460" y="802"/>
                  </a:cubicBezTo>
                  <a:cubicBezTo>
                    <a:pt x="460" y="802"/>
                    <a:pt x="484" y="802"/>
                    <a:pt x="519" y="802"/>
                  </a:cubicBezTo>
                  <a:cubicBezTo>
                    <a:pt x="548" y="802"/>
                    <a:pt x="548" y="802"/>
                    <a:pt x="548" y="802"/>
                  </a:cubicBezTo>
                  <a:cubicBezTo>
                    <a:pt x="564" y="802"/>
                    <a:pt x="561" y="556"/>
                    <a:pt x="560" y="541"/>
                  </a:cubicBezTo>
                  <a:cubicBezTo>
                    <a:pt x="558" y="505"/>
                    <a:pt x="630" y="545"/>
                    <a:pt x="729" y="523"/>
                  </a:cubicBezTo>
                  <a:cubicBezTo>
                    <a:pt x="810" y="505"/>
                    <a:pt x="902" y="481"/>
                    <a:pt x="915" y="469"/>
                  </a:cubicBezTo>
                  <a:cubicBezTo>
                    <a:pt x="929" y="458"/>
                    <a:pt x="932" y="503"/>
                    <a:pt x="960" y="528"/>
                  </a:cubicBezTo>
                  <a:cubicBezTo>
                    <a:pt x="988" y="553"/>
                    <a:pt x="1017" y="566"/>
                    <a:pt x="1048" y="566"/>
                  </a:cubicBezTo>
                  <a:cubicBezTo>
                    <a:pt x="1080" y="566"/>
                    <a:pt x="1053" y="659"/>
                    <a:pt x="1023" y="712"/>
                  </a:cubicBezTo>
                  <a:cubicBezTo>
                    <a:pt x="993" y="765"/>
                    <a:pt x="975" y="802"/>
                    <a:pt x="975" y="802"/>
                  </a:cubicBezTo>
                  <a:cubicBezTo>
                    <a:pt x="1037" y="802"/>
                    <a:pt x="1037" y="802"/>
                    <a:pt x="1037" y="802"/>
                  </a:cubicBezTo>
                  <a:cubicBezTo>
                    <a:pt x="1037" y="802"/>
                    <a:pt x="1105" y="634"/>
                    <a:pt x="1119" y="605"/>
                  </a:cubicBezTo>
                  <a:cubicBezTo>
                    <a:pt x="1133" y="575"/>
                    <a:pt x="1126" y="771"/>
                    <a:pt x="1126" y="802"/>
                  </a:cubicBezTo>
                  <a:cubicBezTo>
                    <a:pt x="1181" y="802"/>
                    <a:pt x="1181" y="802"/>
                    <a:pt x="1181" y="802"/>
                  </a:cubicBezTo>
                  <a:cubicBezTo>
                    <a:pt x="1182" y="708"/>
                    <a:pt x="1184" y="462"/>
                    <a:pt x="1191" y="397"/>
                  </a:cubicBezTo>
                  <a:cubicBezTo>
                    <a:pt x="1195" y="358"/>
                    <a:pt x="1197" y="262"/>
                    <a:pt x="1205" y="268"/>
                  </a:cubicBezTo>
                  <a:cubicBezTo>
                    <a:pt x="1210" y="272"/>
                    <a:pt x="1192" y="483"/>
                    <a:pt x="1211" y="569"/>
                  </a:cubicBezTo>
                  <a:cubicBezTo>
                    <a:pt x="1220" y="611"/>
                    <a:pt x="1243" y="569"/>
                    <a:pt x="1234" y="545"/>
                  </a:cubicBezTo>
                  <a:cubicBezTo>
                    <a:pt x="1217" y="496"/>
                    <a:pt x="1254" y="236"/>
                    <a:pt x="1229" y="172"/>
                  </a:cubicBezTo>
                  <a:cubicBezTo>
                    <a:pt x="1210" y="124"/>
                    <a:pt x="1243" y="71"/>
                    <a:pt x="1117" y="71"/>
                  </a:cubicBezTo>
                  <a:cubicBezTo>
                    <a:pt x="991" y="71"/>
                    <a:pt x="528" y="78"/>
                    <a:pt x="460" y="76"/>
                  </a:cubicBezTo>
                  <a:cubicBezTo>
                    <a:pt x="325" y="71"/>
                    <a:pt x="172" y="53"/>
                    <a:pt x="125" y="41"/>
                  </a:cubicBezTo>
                  <a:cubicBezTo>
                    <a:pt x="106" y="36"/>
                    <a:pt x="123" y="3"/>
                    <a:pt x="97" y="0"/>
                  </a:cubicBezTo>
                  <a:cubicBezTo>
                    <a:pt x="97" y="0"/>
                    <a:pt x="90" y="50"/>
                    <a:pt x="92" y="62"/>
                  </a:cubicBezTo>
                  <a:cubicBezTo>
                    <a:pt x="93" y="74"/>
                    <a:pt x="88" y="116"/>
                    <a:pt x="80" y="126"/>
                  </a:cubicBezTo>
                  <a:cubicBezTo>
                    <a:pt x="73" y="135"/>
                    <a:pt x="66" y="145"/>
                    <a:pt x="70" y="169"/>
                  </a:cubicBezTo>
                  <a:cubicBezTo>
                    <a:pt x="74" y="194"/>
                    <a:pt x="44" y="226"/>
                    <a:pt x="37" y="251"/>
                  </a:cubicBezTo>
                  <a:cubicBezTo>
                    <a:pt x="30" y="277"/>
                    <a:pt x="3" y="273"/>
                    <a:pt x="1" y="293"/>
                  </a:cubicBezTo>
                  <a:cubicBezTo>
                    <a:pt x="0" y="313"/>
                    <a:pt x="45" y="335"/>
                    <a:pt x="73" y="334"/>
                  </a:cubicBezTo>
                  <a:cubicBezTo>
                    <a:pt x="101" y="334"/>
                    <a:pt x="93" y="320"/>
                    <a:pt x="105" y="312"/>
                  </a:cubicBezTo>
                  <a:cubicBezTo>
                    <a:pt x="118" y="305"/>
                    <a:pt x="167" y="311"/>
                    <a:pt x="226" y="281"/>
                  </a:cubicBezTo>
                  <a:cubicBezTo>
                    <a:pt x="261" y="259"/>
                    <a:pt x="436" y="455"/>
                    <a:pt x="453" y="47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6">
              <a:extLst>
                <a:ext uri="{FF2B5EF4-FFF2-40B4-BE49-F238E27FC236}">
                  <a16:creationId xmlns:a16="http://schemas.microsoft.com/office/drawing/2014/main" xmlns="" id="{B4F75827-EFE5-42E6-A0BA-A5DBB816C47C}"/>
                </a:ext>
              </a:extLst>
            </p:cNvPr>
            <p:cNvSpPr>
              <a:spLocks/>
            </p:cNvSpPr>
            <p:nvPr/>
          </p:nvSpPr>
          <p:spPr bwMode="auto">
            <a:xfrm>
              <a:off x="7527821" y="4217743"/>
              <a:ext cx="90580" cy="102022"/>
            </a:xfrm>
            <a:custGeom>
              <a:avLst/>
              <a:gdLst>
                <a:gd name="T0" fmla="*/ 0 w 40"/>
                <a:gd name="T1" fmla="*/ 0 h 45"/>
                <a:gd name="T2" fmla="*/ 38 w 40"/>
                <a:gd name="T3" fmla="*/ 45 h 45"/>
                <a:gd name="T4" fmla="*/ 39 w 40"/>
                <a:gd name="T5" fmla="*/ 15 h 45"/>
                <a:gd name="T6" fmla="*/ 0 w 40"/>
                <a:gd name="T7" fmla="*/ 0 h 45"/>
              </a:gdLst>
              <a:ahLst/>
              <a:cxnLst>
                <a:cxn ang="0">
                  <a:pos x="T0" y="T1"/>
                </a:cxn>
                <a:cxn ang="0">
                  <a:pos x="T2" y="T3"/>
                </a:cxn>
                <a:cxn ang="0">
                  <a:pos x="T4" y="T5"/>
                </a:cxn>
                <a:cxn ang="0">
                  <a:pos x="T6" y="T7"/>
                </a:cxn>
              </a:cxnLst>
              <a:rect l="0" t="0" r="r" b="b"/>
              <a:pathLst>
                <a:path w="40" h="45">
                  <a:moveTo>
                    <a:pt x="0" y="0"/>
                  </a:moveTo>
                  <a:cubicBezTo>
                    <a:pt x="6" y="35"/>
                    <a:pt x="38" y="45"/>
                    <a:pt x="38" y="45"/>
                  </a:cubicBezTo>
                  <a:cubicBezTo>
                    <a:pt x="38" y="45"/>
                    <a:pt x="40" y="23"/>
                    <a:pt x="39" y="15"/>
                  </a:cubicBezTo>
                  <a:cubicBezTo>
                    <a:pt x="38" y="6"/>
                    <a:pt x="0" y="0"/>
                    <a:pt x="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118" name="Inhaltsplatzhalter 5">
              <a:extLst>
                <a:ext uri="{FF2B5EF4-FFF2-40B4-BE49-F238E27FC236}">
                  <a16:creationId xmlns:a16="http://schemas.microsoft.com/office/drawing/2014/main" xmlns="" id="{9D0CC4C0-D041-43A8-A749-3FC5CEF351EE}"/>
                </a:ext>
              </a:extLst>
            </p:cNvPr>
            <p:cNvGraphicFramePr>
              <a:graphicFrameLocks/>
            </p:cNvGraphicFramePr>
            <p:nvPr>
              <p:extLst>
                <p:ext uri="{D42A27DB-BD31-4B8C-83A1-F6EECF244321}">
                  <p14:modId xmlns:p14="http://schemas.microsoft.com/office/powerpoint/2010/main" val="853564255"/>
                </p:ext>
              </p:extLst>
            </p:nvPr>
          </p:nvGraphicFramePr>
          <p:xfrm>
            <a:off x="2448303" y="1854550"/>
            <a:ext cx="7936760" cy="4103054"/>
          </p:xfrm>
          <a:graphic>
            <a:graphicData uri="http://schemas.openxmlformats.org/drawingml/2006/chart">
              <c:chart xmlns:c="http://schemas.openxmlformats.org/drawingml/2006/chart" xmlns:r="http://schemas.openxmlformats.org/officeDocument/2006/relationships" r:id="rId3"/>
            </a:graphicData>
          </a:graphic>
        </p:graphicFrame>
      </p:grpSp>
    </p:spTree>
    <p:extLst>
      <p:ext uri="{BB962C8B-B14F-4D97-AF65-F5344CB8AC3E}">
        <p14:creationId xmlns:p14="http://schemas.microsoft.com/office/powerpoint/2010/main" val="22518495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83BD508-728B-4C8B-9785-A9E72963752E}"/>
              </a:ext>
            </a:extLst>
          </p:cNvPr>
          <p:cNvSpPr>
            <a:spLocks noGrp="1"/>
          </p:cNvSpPr>
          <p:nvPr>
            <p:ph type="body" sz="quarter" idx="11"/>
          </p:nvPr>
        </p:nvSpPr>
        <p:spPr>
          <a:xfrm>
            <a:off x="461755" y="3274356"/>
            <a:ext cx="9821959" cy="1582271"/>
          </a:xfrm>
        </p:spPr>
        <p:txBody>
          <a:bodyPr/>
          <a:lstStyle/>
          <a:p>
            <a:r>
              <a:rPr lang="en-GB" dirty="0"/>
              <a:t>Measures for Management of the Crisis: The Basics</a:t>
            </a:r>
          </a:p>
          <a:p>
            <a:endParaRPr lang="en-GB" dirty="0"/>
          </a:p>
        </p:txBody>
      </p:sp>
    </p:spTree>
    <p:extLst>
      <p:ext uri="{BB962C8B-B14F-4D97-AF65-F5344CB8AC3E}">
        <p14:creationId xmlns:p14="http://schemas.microsoft.com/office/powerpoint/2010/main" val="25350111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39017" y="665903"/>
            <a:ext cx="8852375" cy="697353"/>
          </a:xfrm>
        </p:spPr>
        <p:txBody>
          <a:bodyPr>
            <a:normAutofit fontScale="85000" lnSpcReduction="10000"/>
          </a:bodyPr>
          <a:lstStyle/>
          <a:p>
            <a:r>
              <a:rPr lang="en-GB" dirty="0"/>
              <a:t>Measures for Management of the Crisis: The Basic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0259" y="2134764"/>
            <a:ext cx="2392910" cy="21137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development of restructuring measures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basically follows four central requirements.</a:t>
            </a:r>
          </a:p>
        </p:txBody>
      </p:sp>
      <p:sp>
        <p:nvSpPr>
          <p:cNvPr id="33" name="Freeform 39">
            <a:extLst>
              <a:ext uri="{FF2B5EF4-FFF2-40B4-BE49-F238E27FC236}">
                <a16:creationId xmlns:a16="http://schemas.microsoft.com/office/drawing/2014/main" xmlns="" id="{E307E59B-936A-46F0-B197-E4F3FA985B26}"/>
              </a:ext>
            </a:extLst>
          </p:cNvPr>
          <p:cNvSpPr>
            <a:spLocks/>
          </p:cNvSpPr>
          <p:nvPr/>
        </p:nvSpPr>
        <p:spPr bwMode="auto">
          <a:xfrm>
            <a:off x="2908777" y="2120434"/>
            <a:ext cx="4395834" cy="181393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mj-lt"/>
            </a:endParaRPr>
          </a:p>
        </p:txBody>
      </p:sp>
      <p:sp>
        <p:nvSpPr>
          <p:cNvPr id="34" name="Freeform 13">
            <a:extLst>
              <a:ext uri="{FF2B5EF4-FFF2-40B4-BE49-F238E27FC236}">
                <a16:creationId xmlns:a16="http://schemas.microsoft.com/office/drawing/2014/main" xmlns="" id="{1E2AF4C2-519B-4B35-9A82-D4D37E7DE282}"/>
              </a:ext>
            </a:extLst>
          </p:cNvPr>
          <p:cNvSpPr>
            <a:spLocks/>
          </p:cNvSpPr>
          <p:nvPr/>
        </p:nvSpPr>
        <p:spPr bwMode="auto">
          <a:xfrm>
            <a:off x="3322943" y="2120436"/>
            <a:ext cx="422969" cy="1806604"/>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5" name="Freeform 37">
            <a:extLst>
              <a:ext uri="{FF2B5EF4-FFF2-40B4-BE49-F238E27FC236}">
                <a16:creationId xmlns:a16="http://schemas.microsoft.com/office/drawing/2014/main" xmlns="" id="{41E6CB8C-A6FA-479A-931F-CA10DB775A99}"/>
              </a:ext>
            </a:extLst>
          </p:cNvPr>
          <p:cNvSpPr>
            <a:spLocks/>
          </p:cNvSpPr>
          <p:nvPr/>
        </p:nvSpPr>
        <p:spPr bwMode="auto">
          <a:xfrm>
            <a:off x="7393107" y="2110499"/>
            <a:ext cx="4540687" cy="1813931"/>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6" name="Freeform 15">
            <a:extLst>
              <a:ext uri="{FF2B5EF4-FFF2-40B4-BE49-F238E27FC236}">
                <a16:creationId xmlns:a16="http://schemas.microsoft.com/office/drawing/2014/main" xmlns="" id="{D064C426-8AA4-45AE-BC65-9727FA187731}"/>
              </a:ext>
            </a:extLst>
          </p:cNvPr>
          <p:cNvSpPr>
            <a:spLocks/>
          </p:cNvSpPr>
          <p:nvPr/>
        </p:nvSpPr>
        <p:spPr bwMode="auto">
          <a:xfrm>
            <a:off x="7725248" y="2449763"/>
            <a:ext cx="818717" cy="1467864"/>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7" name="Freeform 35">
            <a:extLst>
              <a:ext uri="{FF2B5EF4-FFF2-40B4-BE49-F238E27FC236}">
                <a16:creationId xmlns:a16="http://schemas.microsoft.com/office/drawing/2014/main" xmlns="" id="{EDFE4ADA-684F-43B5-A253-E78BADD5F456}"/>
              </a:ext>
            </a:extLst>
          </p:cNvPr>
          <p:cNvSpPr>
            <a:spLocks/>
          </p:cNvSpPr>
          <p:nvPr/>
        </p:nvSpPr>
        <p:spPr bwMode="auto">
          <a:xfrm>
            <a:off x="2783226" y="4224357"/>
            <a:ext cx="4527781" cy="1813931"/>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mj-lt"/>
            </a:endParaRPr>
          </a:p>
        </p:txBody>
      </p:sp>
      <p:sp>
        <p:nvSpPr>
          <p:cNvPr id="38" name="Freeform 16">
            <a:extLst>
              <a:ext uri="{FF2B5EF4-FFF2-40B4-BE49-F238E27FC236}">
                <a16:creationId xmlns:a16="http://schemas.microsoft.com/office/drawing/2014/main" xmlns="" id="{4D52DCEB-DFB6-42BA-A0E9-958A7DBB6CCA}"/>
              </a:ext>
            </a:extLst>
          </p:cNvPr>
          <p:cNvSpPr>
            <a:spLocks/>
          </p:cNvSpPr>
          <p:nvPr/>
        </p:nvSpPr>
        <p:spPr bwMode="auto">
          <a:xfrm>
            <a:off x="3188932" y="4608060"/>
            <a:ext cx="739150" cy="143022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mj-lt"/>
            </a:endParaRPr>
          </a:p>
        </p:txBody>
      </p:sp>
      <p:sp>
        <p:nvSpPr>
          <p:cNvPr id="39" name="Freeform 16">
            <a:extLst>
              <a:ext uri="{FF2B5EF4-FFF2-40B4-BE49-F238E27FC236}">
                <a16:creationId xmlns:a16="http://schemas.microsoft.com/office/drawing/2014/main" xmlns="" id="{4E99F8D4-9DA5-45E7-90C3-01358C079E46}"/>
              </a:ext>
            </a:extLst>
          </p:cNvPr>
          <p:cNvSpPr>
            <a:spLocks noEditPoints="1"/>
          </p:cNvSpPr>
          <p:nvPr/>
        </p:nvSpPr>
        <p:spPr bwMode="auto">
          <a:xfrm>
            <a:off x="7363561" y="4224357"/>
            <a:ext cx="4565070" cy="1813931"/>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0" name="Freeform 5">
            <a:extLst>
              <a:ext uri="{FF2B5EF4-FFF2-40B4-BE49-F238E27FC236}">
                <a16:creationId xmlns:a16="http://schemas.microsoft.com/office/drawing/2014/main" xmlns="" id="{1B0C1417-243B-4D46-901E-D7CD5B9DE3FB}"/>
              </a:ext>
            </a:extLst>
          </p:cNvPr>
          <p:cNvSpPr>
            <a:spLocks/>
          </p:cNvSpPr>
          <p:nvPr/>
        </p:nvSpPr>
        <p:spPr bwMode="auto">
          <a:xfrm>
            <a:off x="8118327" y="4224357"/>
            <a:ext cx="437733" cy="1813931"/>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1" name="TextBox 27">
            <a:extLst>
              <a:ext uri="{FF2B5EF4-FFF2-40B4-BE49-F238E27FC236}">
                <a16:creationId xmlns:a16="http://schemas.microsoft.com/office/drawing/2014/main" xmlns="" id="{157EBE67-A33C-4BCE-A078-E2B0F31E255F}"/>
              </a:ext>
            </a:extLst>
          </p:cNvPr>
          <p:cNvSpPr txBox="1"/>
          <p:nvPr/>
        </p:nvSpPr>
        <p:spPr>
          <a:xfrm>
            <a:off x="8448991" y="4563052"/>
            <a:ext cx="3484803" cy="977575"/>
          </a:xfrm>
          <a:prstGeom prst="rect">
            <a:avLst/>
          </a:prstGeom>
          <a:noFill/>
        </p:spPr>
        <p:txBody>
          <a:bodyPr wrap="square" rtlCol="0">
            <a:spAutoFit/>
          </a:bodyPr>
          <a:lstStyle/>
          <a:p>
            <a:pPr>
              <a:lnSpc>
                <a:spcPts val="1665"/>
              </a:lnSpc>
            </a:pPr>
            <a:r>
              <a:rPr lang="en-GB" sz="2000" dirty="0">
                <a:solidFill>
                  <a:schemeClr val="bg1"/>
                </a:solidFill>
                <a:latin typeface="+mj-lt"/>
                <a:ea typeface="Lato Light" charset="0"/>
                <a:cs typeface="Lato Light" charset="0"/>
              </a:rPr>
              <a:t>Overall, sustainable rehabilitation requires a clear concept for strengthening or regaining competitiveness.</a:t>
            </a:r>
          </a:p>
        </p:txBody>
      </p:sp>
      <p:sp>
        <p:nvSpPr>
          <p:cNvPr id="42" name="TextBox 28">
            <a:extLst>
              <a:ext uri="{FF2B5EF4-FFF2-40B4-BE49-F238E27FC236}">
                <a16:creationId xmlns:a16="http://schemas.microsoft.com/office/drawing/2014/main" xmlns="" id="{368B1122-6E1D-4C73-8329-2127EE559E06}"/>
              </a:ext>
            </a:extLst>
          </p:cNvPr>
          <p:cNvSpPr txBox="1"/>
          <p:nvPr/>
        </p:nvSpPr>
        <p:spPr>
          <a:xfrm>
            <a:off x="8455473" y="4248466"/>
            <a:ext cx="3529812" cy="33855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Sustainable competitiveness as final goal</a:t>
            </a:r>
          </a:p>
        </p:txBody>
      </p:sp>
      <p:sp>
        <p:nvSpPr>
          <p:cNvPr id="43" name="TextBox 29">
            <a:extLst>
              <a:ext uri="{FF2B5EF4-FFF2-40B4-BE49-F238E27FC236}">
                <a16:creationId xmlns:a16="http://schemas.microsoft.com/office/drawing/2014/main" xmlns="" id="{39B7BE9A-4A12-4A3A-9E09-19CE818C3FBE}"/>
              </a:ext>
            </a:extLst>
          </p:cNvPr>
          <p:cNvSpPr txBox="1"/>
          <p:nvPr/>
        </p:nvSpPr>
        <p:spPr>
          <a:xfrm>
            <a:off x="3770232" y="4563052"/>
            <a:ext cx="3484803" cy="1406795"/>
          </a:xfrm>
          <a:prstGeom prst="rect">
            <a:avLst/>
          </a:prstGeom>
          <a:noFill/>
        </p:spPr>
        <p:txBody>
          <a:bodyPr wrap="square" rtlCol="0">
            <a:spAutoFit/>
          </a:bodyPr>
          <a:lstStyle/>
          <a:p>
            <a:pPr>
              <a:lnSpc>
                <a:spcPts val="1665"/>
              </a:lnSpc>
            </a:pPr>
            <a:r>
              <a:rPr lang="en-GB" dirty="0">
                <a:solidFill>
                  <a:schemeClr val="bg1"/>
                </a:solidFill>
                <a:latin typeface="+mj-lt"/>
                <a:ea typeface="Lato Light" charset="0"/>
                <a:cs typeface="Lato Light" charset="0"/>
              </a:rPr>
              <a:t>The measures are aimed at achieving profitability through efficiency improvement and cost reduction programs and finally at the strategic (re)orientation of the company.</a:t>
            </a:r>
          </a:p>
        </p:txBody>
      </p:sp>
      <p:sp>
        <p:nvSpPr>
          <p:cNvPr id="44" name="TextBox 30">
            <a:extLst>
              <a:ext uri="{FF2B5EF4-FFF2-40B4-BE49-F238E27FC236}">
                <a16:creationId xmlns:a16="http://schemas.microsoft.com/office/drawing/2014/main" xmlns="" id="{73D99BD9-9B17-4E44-8856-C99CB775BFB2}"/>
              </a:ext>
            </a:extLst>
          </p:cNvPr>
          <p:cNvSpPr txBox="1"/>
          <p:nvPr/>
        </p:nvSpPr>
        <p:spPr>
          <a:xfrm>
            <a:off x="3791572" y="4248466"/>
            <a:ext cx="2925985" cy="338554"/>
          </a:xfrm>
          <a:prstGeom prst="rect">
            <a:avLst/>
          </a:prstGeom>
          <a:noFill/>
        </p:spPr>
        <p:txBody>
          <a:bodyPr wrap="square" rtlCol="0">
            <a:spAutoFit/>
          </a:bodyPr>
          <a:lstStyle/>
          <a:p>
            <a:r>
              <a:rPr lang="en-GB" sz="1600" b="1">
                <a:solidFill>
                  <a:schemeClr val="bg1"/>
                </a:solidFill>
                <a:latin typeface="+mj-lt"/>
                <a:ea typeface="Roboto" charset="0"/>
                <a:cs typeface="Roboto" charset="0"/>
              </a:rPr>
              <a:t>Firefighting before sustainability</a:t>
            </a:r>
            <a:endParaRPr lang="en-GB" sz="1600" b="1" dirty="0">
              <a:solidFill>
                <a:schemeClr val="bg1"/>
              </a:solidFill>
              <a:latin typeface="+mj-lt"/>
              <a:ea typeface="Roboto" charset="0"/>
              <a:cs typeface="Roboto" charset="0"/>
            </a:endParaRPr>
          </a:p>
        </p:txBody>
      </p:sp>
      <p:sp>
        <p:nvSpPr>
          <p:cNvPr id="45" name="TextBox 37">
            <a:extLst>
              <a:ext uri="{FF2B5EF4-FFF2-40B4-BE49-F238E27FC236}">
                <a16:creationId xmlns:a16="http://schemas.microsoft.com/office/drawing/2014/main" xmlns="" id="{DA2331B7-9CA6-40FB-BFC8-F50D69A63F78}"/>
              </a:ext>
            </a:extLst>
          </p:cNvPr>
          <p:cNvSpPr txBox="1"/>
          <p:nvPr/>
        </p:nvSpPr>
        <p:spPr>
          <a:xfrm>
            <a:off x="8448991" y="2378571"/>
            <a:ext cx="3572750" cy="1400383"/>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According to the urgency of the situation, the restructuring measures are initially aimed at eliminating possible reasons for insolvency (i.e. ensuring the solvency of the company (programme to safeguard liquidity) and at covering debts.</a:t>
            </a:r>
          </a:p>
        </p:txBody>
      </p:sp>
      <p:sp>
        <p:nvSpPr>
          <p:cNvPr id="46" name="TextBox 38">
            <a:extLst>
              <a:ext uri="{FF2B5EF4-FFF2-40B4-BE49-F238E27FC236}">
                <a16:creationId xmlns:a16="http://schemas.microsoft.com/office/drawing/2014/main" xmlns="" id="{B7661049-E557-43D7-A167-5AD18AD80BF2}"/>
              </a:ext>
            </a:extLst>
          </p:cNvPr>
          <p:cNvSpPr txBox="1"/>
          <p:nvPr/>
        </p:nvSpPr>
        <p:spPr>
          <a:xfrm>
            <a:off x="8470331" y="2087736"/>
            <a:ext cx="2703689" cy="33855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Urgency determines Measures</a:t>
            </a:r>
          </a:p>
        </p:txBody>
      </p:sp>
      <p:sp>
        <p:nvSpPr>
          <p:cNvPr id="47" name="TextBox 39">
            <a:extLst>
              <a:ext uri="{FF2B5EF4-FFF2-40B4-BE49-F238E27FC236}">
                <a16:creationId xmlns:a16="http://schemas.microsoft.com/office/drawing/2014/main" xmlns="" id="{E236226E-206C-4200-A2C4-3A2E2C217F5A}"/>
              </a:ext>
            </a:extLst>
          </p:cNvPr>
          <p:cNvSpPr txBox="1"/>
          <p:nvPr/>
        </p:nvSpPr>
        <p:spPr>
          <a:xfrm>
            <a:off x="3770232" y="2437946"/>
            <a:ext cx="3484803" cy="970779"/>
          </a:xfrm>
          <a:prstGeom prst="rect">
            <a:avLst/>
          </a:prstGeom>
          <a:noFill/>
        </p:spPr>
        <p:txBody>
          <a:bodyPr wrap="square" rtlCol="0">
            <a:spAutoFit/>
          </a:bodyPr>
          <a:lstStyle/>
          <a:p>
            <a:pPr>
              <a:lnSpc>
                <a:spcPts val="1665"/>
              </a:lnSpc>
            </a:pPr>
            <a:r>
              <a:rPr lang="en-GB" sz="2000" dirty="0">
                <a:solidFill>
                  <a:schemeClr val="bg1"/>
                </a:solidFill>
                <a:latin typeface="+mj-lt"/>
                <a:ea typeface="Lato Light" charset="0"/>
                <a:cs typeface="Lato Light" charset="0"/>
              </a:rPr>
              <a:t>The respective stage of the crisis determines the content and measures of the restructuring concept</a:t>
            </a:r>
          </a:p>
        </p:txBody>
      </p:sp>
      <p:sp>
        <p:nvSpPr>
          <p:cNvPr id="48" name="TextBox 40">
            <a:extLst>
              <a:ext uri="{FF2B5EF4-FFF2-40B4-BE49-F238E27FC236}">
                <a16:creationId xmlns:a16="http://schemas.microsoft.com/office/drawing/2014/main" xmlns="" id="{805FE2B6-A322-4AEF-B55F-50D02789EFB7}"/>
              </a:ext>
            </a:extLst>
          </p:cNvPr>
          <p:cNvSpPr txBox="1"/>
          <p:nvPr/>
        </p:nvSpPr>
        <p:spPr>
          <a:xfrm>
            <a:off x="3791573" y="2123361"/>
            <a:ext cx="2990306" cy="33855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Crisis Phase determines Measures</a:t>
            </a:r>
          </a:p>
        </p:txBody>
      </p:sp>
    </p:spTree>
    <p:extLst>
      <p:ext uri="{BB962C8B-B14F-4D97-AF65-F5344CB8AC3E}">
        <p14:creationId xmlns:p14="http://schemas.microsoft.com/office/powerpoint/2010/main" val="25164740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64470" y="721841"/>
            <a:ext cx="8852375" cy="697353"/>
          </a:xfrm>
        </p:spPr>
        <p:txBody>
          <a:bodyPr>
            <a:normAutofit/>
          </a:bodyPr>
          <a:lstStyle/>
          <a:p>
            <a:r>
              <a:rPr lang="en-GB" dirty="0"/>
              <a:t>Overcoming a liquidity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1607" y="1963498"/>
            <a:ext cx="4088249" cy="523763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To overcome the liquidity crisis, the liquidity reserves still available in the company must be mobilized and any remaining gaps must be closed externally, either by injecting liquid funds or through standstill agreements with creditors.</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The recovery of sufficient creditworthiness also requires that the company can improve its rating and provide sufficient guarantees</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n addition to additional loans or shareholder contributions, the following possibilities are worth mentioning</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20" name="Group 18204">
            <a:extLst>
              <a:ext uri="{FF2B5EF4-FFF2-40B4-BE49-F238E27FC236}">
                <a16:creationId xmlns:a16="http://schemas.microsoft.com/office/drawing/2014/main" xmlns="" id="{E83DAD49-A45B-4067-8612-3F8C2E8BBF26}"/>
              </a:ext>
            </a:extLst>
          </p:cNvPr>
          <p:cNvGrpSpPr/>
          <p:nvPr/>
        </p:nvGrpSpPr>
        <p:grpSpPr>
          <a:xfrm>
            <a:off x="4653352" y="3229654"/>
            <a:ext cx="1415796" cy="1577513"/>
            <a:chOff x="0" y="0"/>
            <a:chExt cx="1905957" cy="2123662"/>
          </a:xfrm>
        </p:grpSpPr>
        <p:sp>
          <p:nvSpPr>
            <p:cNvPr id="21" name="Shape 18202">
              <a:extLst>
                <a:ext uri="{FF2B5EF4-FFF2-40B4-BE49-F238E27FC236}">
                  <a16:creationId xmlns:a16="http://schemas.microsoft.com/office/drawing/2014/main" xmlns="" id="{DBB4B7F1-082D-4C2B-806E-79BFDF06BCC1}"/>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22" name="Shape 18203">
              <a:extLst>
                <a:ext uri="{FF2B5EF4-FFF2-40B4-BE49-F238E27FC236}">
                  <a16:creationId xmlns:a16="http://schemas.microsoft.com/office/drawing/2014/main" xmlns="" id="{94B22DDC-324D-4C7A-A0D0-EA8DA63E2F84}"/>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23" name="Group 18207">
            <a:extLst>
              <a:ext uri="{FF2B5EF4-FFF2-40B4-BE49-F238E27FC236}">
                <a16:creationId xmlns:a16="http://schemas.microsoft.com/office/drawing/2014/main" xmlns="" id="{8746039E-5B2D-419D-9671-97D8D31C01B8}"/>
              </a:ext>
            </a:extLst>
          </p:cNvPr>
          <p:cNvGrpSpPr/>
          <p:nvPr/>
        </p:nvGrpSpPr>
        <p:grpSpPr>
          <a:xfrm>
            <a:off x="8579908" y="2431675"/>
            <a:ext cx="1733782" cy="2063284"/>
            <a:chOff x="0" y="0"/>
            <a:chExt cx="2334032" cy="2777611"/>
          </a:xfrm>
        </p:grpSpPr>
        <p:sp>
          <p:nvSpPr>
            <p:cNvPr id="24" name="Shape 18205">
              <a:extLst>
                <a:ext uri="{FF2B5EF4-FFF2-40B4-BE49-F238E27FC236}">
                  <a16:creationId xmlns:a16="http://schemas.microsoft.com/office/drawing/2014/main" xmlns="" id="{6E764A43-7907-47A2-B2C4-BEAE8C95A667}"/>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chemeClr val="accent5"/>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25" name="Shape 18206">
              <a:extLst>
                <a:ext uri="{FF2B5EF4-FFF2-40B4-BE49-F238E27FC236}">
                  <a16:creationId xmlns:a16="http://schemas.microsoft.com/office/drawing/2014/main" xmlns="" id="{AA2C67E6-85E2-4E94-9223-D932F0B21E4F}"/>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chemeClr val="accent5">
                <a:lumMod val="75000"/>
                <a:lumOff val="2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26" name="Group 18211">
            <a:extLst>
              <a:ext uri="{FF2B5EF4-FFF2-40B4-BE49-F238E27FC236}">
                <a16:creationId xmlns:a16="http://schemas.microsoft.com/office/drawing/2014/main" xmlns="" id="{844CD7F4-65D6-4426-8FF4-0387B244436E}"/>
              </a:ext>
            </a:extLst>
          </p:cNvPr>
          <p:cNvGrpSpPr/>
          <p:nvPr/>
        </p:nvGrpSpPr>
        <p:grpSpPr>
          <a:xfrm>
            <a:off x="5590658" y="4122628"/>
            <a:ext cx="1347128" cy="1161728"/>
            <a:chOff x="0" y="0"/>
            <a:chExt cx="1813514" cy="1563927"/>
          </a:xfrm>
        </p:grpSpPr>
        <p:sp>
          <p:nvSpPr>
            <p:cNvPr id="27" name="Shape 18208">
              <a:extLst>
                <a:ext uri="{FF2B5EF4-FFF2-40B4-BE49-F238E27FC236}">
                  <a16:creationId xmlns:a16="http://schemas.microsoft.com/office/drawing/2014/main" xmlns="" id="{B261EB75-668D-40DD-A8D3-97791B05FD36}"/>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chemeClr val="accent2">
                <a:lumMod val="50000"/>
              </a:schemeClr>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600" dirty="0">
                <a:latin typeface="+mj-lt"/>
                <a:ea typeface="Lato Light" panose="020F0502020204030203" pitchFamily="34" charset="0"/>
                <a:cs typeface="Lato Light" panose="020F0502020204030203" pitchFamily="34" charset="0"/>
              </a:endParaRPr>
            </a:p>
          </p:txBody>
        </p:sp>
        <p:sp>
          <p:nvSpPr>
            <p:cNvPr id="28" name="Shape 18209">
              <a:extLst>
                <a:ext uri="{FF2B5EF4-FFF2-40B4-BE49-F238E27FC236}">
                  <a16:creationId xmlns:a16="http://schemas.microsoft.com/office/drawing/2014/main" xmlns="" id="{49604B40-AF93-4136-953E-2DC49D0CCC36}"/>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chemeClr val="accent2">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29" name="Shape 18210">
              <a:extLst>
                <a:ext uri="{FF2B5EF4-FFF2-40B4-BE49-F238E27FC236}">
                  <a16:creationId xmlns:a16="http://schemas.microsoft.com/office/drawing/2014/main" xmlns="" id="{0A7591FD-FC0D-4C04-9C74-8FBC9D272FA1}"/>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chemeClr val="accent2"/>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30" name="Group 18215">
            <a:extLst>
              <a:ext uri="{FF2B5EF4-FFF2-40B4-BE49-F238E27FC236}">
                <a16:creationId xmlns:a16="http://schemas.microsoft.com/office/drawing/2014/main" xmlns="" id="{1E28D54D-C0A3-45C1-8960-DCD5AED2F1C9}"/>
              </a:ext>
            </a:extLst>
          </p:cNvPr>
          <p:cNvGrpSpPr/>
          <p:nvPr/>
        </p:nvGrpSpPr>
        <p:grpSpPr>
          <a:xfrm>
            <a:off x="6996619" y="4407620"/>
            <a:ext cx="1172470" cy="898958"/>
            <a:chOff x="0" y="0"/>
            <a:chExt cx="1578389" cy="1210186"/>
          </a:xfrm>
        </p:grpSpPr>
        <p:sp>
          <p:nvSpPr>
            <p:cNvPr id="31" name="Shape 18212">
              <a:extLst>
                <a:ext uri="{FF2B5EF4-FFF2-40B4-BE49-F238E27FC236}">
                  <a16:creationId xmlns:a16="http://schemas.microsoft.com/office/drawing/2014/main" xmlns="" id="{3E906520-B17F-480A-87A5-2A4850DB207E}"/>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chemeClr val="accent3">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32" name="Shape 18213">
              <a:extLst>
                <a:ext uri="{FF2B5EF4-FFF2-40B4-BE49-F238E27FC236}">
                  <a16:creationId xmlns:a16="http://schemas.microsoft.com/office/drawing/2014/main" xmlns="" id="{547CA99F-FD5D-4122-BB63-54C35396B167}"/>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chemeClr val="accent3"/>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49" name="Shape 18214">
              <a:extLst>
                <a:ext uri="{FF2B5EF4-FFF2-40B4-BE49-F238E27FC236}">
                  <a16:creationId xmlns:a16="http://schemas.microsoft.com/office/drawing/2014/main" xmlns="" id="{914293A5-4921-41D0-9CF0-5CCC1A952056}"/>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chemeClr val="accent3">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50" name="Group 18219">
            <a:extLst>
              <a:ext uri="{FF2B5EF4-FFF2-40B4-BE49-F238E27FC236}">
                <a16:creationId xmlns:a16="http://schemas.microsoft.com/office/drawing/2014/main" xmlns="" id="{EC4A7FB9-A62C-48E8-B2BD-DA65D487DD93}"/>
              </a:ext>
            </a:extLst>
          </p:cNvPr>
          <p:cNvGrpSpPr/>
          <p:nvPr/>
        </p:nvGrpSpPr>
        <p:grpSpPr>
          <a:xfrm>
            <a:off x="7921261" y="4027632"/>
            <a:ext cx="1394113" cy="1126387"/>
            <a:chOff x="0" y="0"/>
            <a:chExt cx="1876767" cy="1516352"/>
          </a:xfrm>
        </p:grpSpPr>
        <p:sp>
          <p:nvSpPr>
            <p:cNvPr id="51" name="Shape 18216">
              <a:extLst>
                <a:ext uri="{FF2B5EF4-FFF2-40B4-BE49-F238E27FC236}">
                  <a16:creationId xmlns:a16="http://schemas.microsoft.com/office/drawing/2014/main" xmlns="" id="{B374F26B-D853-42D5-86DF-259A99D3E71E}"/>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chemeClr val="accent4">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52" name="Shape 18217">
              <a:extLst>
                <a:ext uri="{FF2B5EF4-FFF2-40B4-BE49-F238E27FC236}">
                  <a16:creationId xmlns:a16="http://schemas.microsoft.com/office/drawing/2014/main" xmlns="" id="{53FBD17D-7707-421A-9518-2324D64F3E68}"/>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chemeClr val="accent4">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53" name="Shape 18218">
              <a:extLst>
                <a:ext uri="{FF2B5EF4-FFF2-40B4-BE49-F238E27FC236}">
                  <a16:creationId xmlns:a16="http://schemas.microsoft.com/office/drawing/2014/main" xmlns="" id="{17E2FADA-F82E-4E49-AFF3-CF3E1086258A}"/>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chemeClr val="accent4"/>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sp>
        <p:nvSpPr>
          <p:cNvPr id="54" name="Shape 18237">
            <a:extLst>
              <a:ext uri="{FF2B5EF4-FFF2-40B4-BE49-F238E27FC236}">
                <a16:creationId xmlns:a16="http://schemas.microsoft.com/office/drawing/2014/main" xmlns="" id="{4652B7A9-0490-463E-8C0F-1AD4DFA1F225}"/>
              </a:ext>
            </a:extLst>
          </p:cNvPr>
          <p:cNvSpPr/>
          <p:nvPr/>
        </p:nvSpPr>
        <p:spPr>
          <a:xfrm>
            <a:off x="8153922" y="3088874"/>
            <a:ext cx="269327" cy="12852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5" name="Shape 18238">
            <a:extLst>
              <a:ext uri="{FF2B5EF4-FFF2-40B4-BE49-F238E27FC236}">
                <a16:creationId xmlns:a16="http://schemas.microsoft.com/office/drawing/2014/main" xmlns="" id="{87AD1332-5CB8-4888-BD27-E65B2989EDC5}"/>
              </a:ext>
            </a:extLst>
          </p:cNvPr>
          <p:cNvSpPr/>
          <p:nvPr/>
        </p:nvSpPr>
        <p:spPr>
          <a:xfrm>
            <a:off x="6402716" y="3457648"/>
            <a:ext cx="269327" cy="99798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6" name="Shape 18239">
            <a:extLst>
              <a:ext uri="{FF2B5EF4-FFF2-40B4-BE49-F238E27FC236}">
                <a16:creationId xmlns:a16="http://schemas.microsoft.com/office/drawing/2014/main" xmlns="" id="{1CA4B6F0-2D06-4A42-BD0B-3EA3C11AF4B9}"/>
              </a:ext>
            </a:extLst>
          </p:cNvPr>
          <p:cNvSpPr/>
          <p:nvPr/>
        </p:nvSpPr>
        <p:spPr>
          <a:xfrm>
            <a:off x="7547368" y="5149718"/>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7" name="Shape 18240">
            <a:extLst>
              <a:ext uri="{FF2B5EF4-FFF2-40B4-BE49-F238E27FC236}">
                <a16:creationId xmlns:a16="http://schemas.microsoft.com/office/drawing/2014/main" xmlns="" id="{E65A5F9F-3277-408A-92D0-7F4A4D61F70A}"/>
              </a:ext>
            </a:extLst>
          </p:cNvPr>
          <p:cNvSpPr/>
          <p:nvPr/>
        </p:nvSpPr>
        <p:spPr>
          <a:xfrm rot="5400000">
            <a:off x="10216401" y="3042944"/>
            <a:ext cx="293621" cy="8437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8" name="Shape 18241">
            <a:extLst>
              <a:ext uri="{FF2B5EF4-FFF2-40B4-BE49-F238E27FC236}">
                <a16:creationId xmlns:a16="http://schemas.microsoft.com/office/drawing/2014/main" xmlns="" id="{57A54123-BE32-4A54-89F5-F987190A11E2}"/>
              </a:ext>
            </a:extLst>
          </p:cNvPr>
          <p:cNvSpPr/>
          <p:nvPr/>
        </p:nvSpPr>
        <p:spPr>
          <a:xfrm>
            <a:off x="4835654" y="4217518"/>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9" name="TextBox 45">
            <a:extLst>
              <a:ext uri="{FF2B5EF4-FFF2-40B4-BE49-F238E27FC236}">
                <a16:creationId xmlns:a16="http://schemas.microsoft.com/office/drawing/2014/main" xmlns="" id="{F0F89850-D6A4-4443-8D2D-A1FED454B979}"/>
              </a:ext>
            </a:extLst>
          </p:cNvPr>
          <p:cNvSpPr txBox="1"/>
          <p:nvPr/>
        </p:nvSpPr>
        <p:spPr>
          <a:xfrm>
            <a:off x="4308690" y="5648977"/>
            <a:ext cx="2365406" cy="604909"/>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Optimization of inventory management / Stock reduction</a:t>
            </a:r>
            <a:endParaRPr lang="en-GB" sz="1600" dirty="0">
              <a:latin typeface="+mj-lt"/>
              <a:ea typeface="Lato Light" panose="020F0502020204030203" pitchFamily="34" charset="0"/>
              <a:cs typeface="Lato Light" panose="020F0502020204030203" pitchFamily="34" charset="0"/>
            </a:endParaRPr>
          </a:p>
        </p:txBody>
      </p:sp>
      <p:sp>
        <p:nvSpPr>
          <p:cNvPr id="60" name="TextBox 46">
            <a:extLst>
              <a:ext uri="{FF2B5EF4-FFF2-40B4-BE49-F238E27FC236}">
                <a16:creationId xmlns:a16="http://schemas.microsoft.com/office/drawing/2014/main" xmlns="" id="{29BD9425-C95D-4CAE-8242-817AFB3152CD}"/>
              </a:ext>
            </a:extLst>
          </p:cNvPr>
          <p:cNvSpPr txBox="1"/>
          <p:nvPr/>
        </p:nvSpPr>
        <p:spPr>
          <a:xfrm>
            <a:off x="4308689" y="5406376"/>
            <a:ext cx="950453" cy="338554"/>
          </a:xfrm>
          <a:prstGeom prst="rect">
            <a:avLst/>
          </a:prstGeom>
          <a:noFill/>
        </p:spPr>
        <p:txBody>
          <a:bodyPr wrap="none" rtlCol="0" anchor="t">
            <a:spAutoFit/>
          </a:bodyPr>
          <a:lstStyle/>
          <a:p>
            <a:r>
              <a:rPr lang="en-GB" sz="1600" b="1">
                <a:solidFill>
                  <a:schemeClr val="accent1"/>
                </a:solidFill>
                <a:latin typeface="+mj-lt"/>
                <a:ea typeface="Lato Light" panose="020F0502020204030203" pitchFamily="34" charset="0"/>
                <a:cs typeface="Poppins" pitchFamily="2" charset="77"/>
              </a:rPr>
              <a:t>Inventory</a:t>
            </a:r>
            <a:endParaRPr lang="en-GB" sz="1600" b="1" dirty="0">
              <a:solidFill>
                <a:schemeClr val="accent1"/>
              </a:solidFill>
              <a:latin typeface="+mj-lt"/>
              <a:ea typeface="Lato Light" panose="020F0502020204030203" pitchFamily="34" charset="0"/>
              <a:cs typeface="Poppins" pitchFamily="2" charset="77"/>
            </a:endParaRPr>
          </a:p>
        </p:txBody>
      </p:sp>
      <p:sp>
        <p:nvSpPr>
          <p:cNvPr id="61" name="TextBox 49">
            <a:extLst>
              <a:ext uri="{FF2B5EF4-FFF2-40B4-BE49-F238E27FC236}">
                <a16:creationId xmlns:a16="http://schemas.microsoft.com/office/drawing/2014/main" xmlns="" id="{9B0188C1-8DA1-4B32-8B35-A4F5EA16E5C1}"/>
              </a:ext>
            </a:extLst>
          </p:cNvPr>
          <p:cNvSpPr txBox="1"/>
          <p:nvPr/>
        </p:nvSpPr>
        <p:spPr>
          <a:xfrm>
            <a:off x="4308690" y="2513505"/>
            <a:ext cx="2365406" cy="771621"/>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Selling of Receivables to reduce the time to receipt of money and the default risks</a:t>
            </a:r>
            <a:endParaRPr lang="en-GB" sz="1600" dirty="0">
              <a:latin typeface="+mj-lt"/>
              <a:ea typeface="Lato Light" panose="020F0502020204030203" pitchFamily="34" charset="0"/>
              <a:cs typeface="Lato Light" panose="020F0502020204030203" pitchFamily="34" charset="0"/>
            </a:endParaRPr>
          </a:p>
        </p:txBody>
      </p:sp>
      <p:sp>
        <p:nvSpPr>
          <p:cNvPr id="62" name="TextBox 50">
            <a:extLst>
              <a:ext uri="{FF2B5EF4-FFF2-40B4-BE49-F238E27FC236}">
                <a16:creationId xmlns:a16="http://schemas.microsoft.com/office/drawing/2014/main" xmlns="" id="{2B804EFD-C218-4A28-A965-6261658DE351}"/>
              </a:ext>
            </a:extLst>
          </p:cNvPr>
          <p:cNvSpPr txBox="1"/>
          <p:nvPr/>
        </p:nvSpPr>
        <p:spPr>
          <a:xfrm>
            <a:off x="4308689" y="2270904"/>
            <a:ext cx="933782" cy="338554"/>
          </a:xfrm>
          <a:prstGeom prst="rect">
            <a:avLst/>
          </a:prstGeom>
          <a:noFill/>
        </p:spPr>
        <p:txBody>
          <a:bodyPr wrap="none" rtlCol="0" anchor="t">
            <a:spAutoFit/>
          </a:bodyPr>
          <a:lstStyle/>
          <a:p>
            <a:r>
              <a:rPr lang="en-GB" sz="1600" b="1">
                <a:solidFill>
                  <a:schemeClr val="accent2"/>
                </a:solidFill>
                <a:latin typeface="+mj-lt"/>
                <a:ea typeface="Lato Light" panose="020F0502020204030203" pitchFamily="34" charset="0"/>
                <a:cs typeface="Poppins" pitchFamily="2" charset="77"/>
              </a:rPr>
              <a:t>Factoring</a:t>
            </a:r>
            <a:endParaRPr lang="en-GB" sz="1600" b="1" dirty="0">
              <a:solidFill>
                <a:schemeClr val="accent2"/>
              </a:solidFill>
              <a:latin typeface="+mj-lt"/>
              <a:ea typeface="Lato Light" panose="020F0502020204030203" pitchFamily="34" charset="0"/>
              <a:cs typeface="Poppins" pitchFamily="2" charset="77"/>
            </a:endParaRPr>
          </a:p>
        </p:txBody>
      </p:sp>
      <p:sp>
        <p:nvSpPr>
          <p:cNvPr id="63" name="TextBox 52">
            <a:extLst>
              <a:ext uri="{FF2B5EF4-FFF2-40B4-BE49-F238E27FC236}">
                <a16:creationId xmlns:a16="http://schemas.microsoft.com/office/drawing/2014/main" xmlns="" id="{BE3B84A4-231C-4608-8C9A-3884315ED1AF}"/>
              </a:ext>
            </a:extLst>
          </p:cNvPr>
          <p:cNvSpPr txBox="1"/>
          <p:nvPr/>
        </p:nvSpPr>
        <p:spPr>
          <a:xfrm>
            <a:off x="7100783" y="2589894"/>
            <a:ext cx="2365406" cy="604909"/>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Outsourcing of non-core functions to reduce fixed </a:t>
            </a:r>
            <a:br>
              <a:rPr lang="en-GB" sz="1600">
                <a:latin typeface="+mj-lt"/>
                <a:ea typeface="Lato Light" panose="020F0502020204030203" pitchFamily="34" charset="0"/>
                <a:cs typeface="Lato Light" panose="020F0502020204030203" pitchFamily="34" charset="0"/>
              </a:rPr>
            </a:br>
            <a:r>
              <a:rPr lang="en-GB" sz="1600">
                <a:latin typeface="+mj-lt"/>
                <a:ea typeface="Lato Light" panose="020F0502020204030203" pitchFamily="34" charset="0"/>
                <a:cs typeface="Lato Light" panose="020F0502020204030203" pitchFamily="34" charset="0"/>
              </a:rPr>
              <a:t>costs</a:t>
            </a:r>
            <a:endParaRPr lang="en-GB" sz="1600" dirty="0">
              <a:latin typeface="+mj-lt"/>
              <a:ea typeface="Lato Light" panose="020F0502020204030203" pitchFamily="34" charset="0"/>
              <a:cs typeface="Lato Light" panose="020F0502020204030203" pitchFamily="34" charset="0"/>
            </a:endParaRPr>
          </a:p>
        </p:txBody>
      </p:sp>
      <p:sp>
        <p:nvSpPr>
          <p:cNvPr id="64" name="TextBox 53">
            <a:extLst>
              <a:ext uri="{FF2B5EF4-FFF2-40B4-BE49-F238E27FC236}">
                <a16:creationId xmlns:a16="http://schemas.microsoft.com/office/drawing/2014/main" xmlns="" id="{9BBA2E5C-60EB-47C5-B992-42EB04B20165}"/>
              </a:ext>
            </a:extLst>
          </p:cNvPr>
          <p:cNvSpPr txBox="1"/>
          <p:nvPr/>
        </p:nvSpPr>
        <p:spPr>
          <a:xfrm>
            <a:off x="7100783" y="2347293"/>
            <a:ext cx="1169103" cy="338554"/>
          </a:xfrm>
          <a:prstGeom prst="rect">
            <a:avLst/>
          </a:prstGeom>
          <a:noFill/>
        </p:spPr>
        <p:txBody>
          <a:bodyPr wrap="none" rtlCol="0" anchor="t">
            <a:spAutoFit/>
          </a:bodyPr>
          <a:lstStyle/>
          <a:p>
            <a:r>
              <a:rPr lang="en-GB" sz="1600" b="1">
                <a:solidFill>
                  <a:schemeClr val="accent4"/>
                </a:solidFill>
                <a:latin typeface="+mj-lt"/>
                <a:ea typeface="Lato Light" panose="020F0502020204030203" pitchFamily="34" charset="0"/>
                <a:cs typeface="Poppins" pitchFamily="2" charset="77"/>
              </a:rPr>
              <a:t>Outsourcing</a:t>
            </a:r>
            <a:endParaRPr lang="en-GB" sz="1600" b="1" dirty="0">
              <a:solidFill>
                <a:schemeClr val="accent4"/>
              </a:solidFill>
              <a:latin typeface="+mj-lt"/>
              <a:ea typeface="Lato Light" panose="020F0502020204030203" pitchFamily="34" charset="0"/>
              <a:cs typeface="Poppins" pitchFamily="2" charset="77"/>
            </a:endParaRPr>
          </a:p>
        </p:txBody>
      </p:sp>
      <p:sp>
        <p:nvSpPr>
          <p:cNvPr id="65" name="TextBox 55">
            <a:extLst>
              <a:ext uri="{FF2B5EF4-FFF2-40B4-BE49-F238E27FC236}">
                <a16:creationId xmlns:a16="http://schemas.microsoft.com/office/drawing/2014/main" xmlns="" id="{3EDBF91F-3268-418D-BBF1-D2A887D7ACF6}"/>
              </a:ext>
            </a:extLst>
          </p:cNvPr>
          <p:cNvSpPr txBox="1"/>
          <p:nvPr/>
        </p:nvSpPr>
        <p:spPr>
          <a:xfrm>
            <a:off x="8419691" y="5640204"/>
            <a:ext cx="2365406" cy="771621"/>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Reduction of payment terms / consequent management of receivbales</a:t>
            </a:r>
            <a:endParaRPr lang="en-GB" sz="1600" dirty="0">
              <a:latin typeface="+mj-lt"/>
              <a:ea typeface="Lato Light" panose="020F0502020204030203" pitchFamily="34" charset="0"/>
              <a:cs typeface="Lato Light" panose="020F0502020204030203" pitchFamily="34" charset="0"/>
            </a:endParaRPr>
          </a:p>
        </p:txBody>
      </p:sp>
      <p:sp>
        <p:nvSpPr>
          <p:cNvPr id="66" name="TextBox 56">
            <a:extLst>
              <a:ext uri="{FF2B5EF4-FFF2-40B4-BE49-F238E27FC236}">
                <a16:creationId xmlns:a16="http://schemas.microsoft.com/office/drawing/2014/main" xmlns="" id="{A302633B-504E-42CF-B57B-98CEE520017C}"/>
              </a:ext>
            </a:extLst>
          </p:cNvPr>
          <p:cNvSpPr txBox="1"/>
          <p:nvPr/>
        </p:nvSpPr>
        <p:spPr>
          <a:xfrm>
            <a:off x="8419691" y="5397603"/>
            <a:ext cx="2250040" cy="338554"/>
          </a:xfrm>
          <a:prstGeom prst="rect">
            <a:avLst/>
          </a:prstGeom>
          <a:noFill/>
        </p:spPr>
        <p:txBody>
          <a:bodyPr wrap="none" rtlCol="0" anchor="t">
            <a:spAutoFit/>
          </a:bodyPr>
          <a:lstStyle/>
          <a:p>
            <a:r>
              <a:rPr lang="en-GB" sz="1600" b="1">
                <a:solidFill>
                  <a:schemeClr val="accent3"/>
                </a:solidFill>
                <a:latin typeface="+mj-lt"/>
                <a:ea typeface="Lato Light" panose="020F0502020204030203" pitchFamily="34" charset="0"/>
                <a:cs typeface="Poppins" pitchFamily="2" charset="77"/>
              </a:rPr>
              <a:t>Receivables Management</a:t>
            </a:r>
            <a:endParaRPr lang="en-GB" sz="1600" b="1" dirty="0">
              <a:solidFill>
                <a:schemeClr val="accent3"/>
              </a:solidFill>
              <a:latin typeface="+mj-lt"/>
              <a:ea typeface="Lato Light" panose="020F0502020204030203" pitchFamily="34" charset="0"/>
              <a:cs typeface="Poppins" pitchFamily="2" charset="77"/>
            </a:endParaRPr>
          </a:p>
        </p:txBody>
      </p:sp>
      <p:sp>
        <p:nvSpPr>
          <p:cNvPr id="67" name="TextBox 58">
            <a:extLst>
              <a:ext uri="{FF2B5EF4-FFF2-40B4-BE49-F238E27FC236}">
                <a16:creationId xmlns:a16="http://schemas.microsoft.com/office/drawing/2014/main" xmlns="" id="{52C378A8-80DF-4799-96C7-6ECF736DA5AF}"/>
              </a:ext>
            </a:extLst>
          </p:cNvPr>
          <p:cNvSpPr txBox="1"/>
          <p:nvPr/>
        </p:nvSpPr>
        <p:spPr>
          <a:xfrm>
            <a:off x="10894398" y="4010325"/>
            <a:ext cx="1303256" cy="604909"/>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Sale of fixed assets and lease back</a:t>
            </a:r>
            <a:endParaRPr lang="en-GB" sz="1600" dirty="0">
              <a:latin typeface="+mj-lt"/>
              <a:ea typeface="Lato Light" panose="020F0502020204030203" pitchFamily="34" charset="0"/>
              <a:cs typeface="Lato Light" panose="020F0502020204030203" pitchFamily="34" charset="0"/>
            </a:endParaRPr>
          </a:p>
        </p:txBody>
      </p:sp>
      <p:sp>
        <p:nvSpPr>
          <p:cNvPr id="68" name="TextBox 59">
            <a:extLst>
              <a:ext uri="{FF2B5EF4-FFF2-40B4-BE49-F238E27FC236}">
                <a16:creationId xmlns:a16="http://schemas.microsoft.com/office/drawing/2014/main" xmlns="" id="{6D8ACA0D-D7F5-482F-BAC8-E942FBB6ABDD}"/>
              </a:ext>
            </a:extLst>
          </p:cNvPr>
          <p:cNvSpPr txBox="1"/>
          <p:nvPr/>
        </p:nvSpPr>
        <p:spPr>
          <a:xfrm>
            <a:off x="10894399" y="3526185"/>
            <a:ext cx="1364476" cy="584775"/>
          </a:xfrm>
          <a:prstGeom prst="rect">
            <a:avLst/>
          </a:prstGeom>
          <a:noFill/>
        </p:spPr>
        <p:txBody>
          <a:bodyPr wrap="none" rtlCol="0" anchor="t">
            <a:spAutoFit/>
          </a:bodyPr>
          <a:lstStyle/>
          <a:p>
            <a:r>
              <a:rPr lang="en-GB" sz="1600" b="1">
                <a:solidFill>
                  <a:schemeClr val="accent5"/>
                </a:solidFill>
                <a:latin typeface="+mj-lt"/>
                <a:ea typeface="Lato Light" panose="020F0502020204030203" pitchFamily="34" charset="0"/>
                <a:cs typeface="Poppins" pitchFamily="2" charset="77"/>
              </a:rPr>
              <a:t>Sale and Lease</a:t>
            </a:r>
            <a:br>
              <a:rPr lang="en-GB" sz="1600" b="1">
                <a:solidFill>
                  <a:schemeClr val="accent5"/>
                </a:solidFill>
                <a:latin typeface="+mj-lt"/>
                <a:ea typeface="Lato Light" panose="020F0502020204030203" pitchFamily="34" charset="0"/>
                <a:cs typeface="Poppins" pitchFamily="2" charset="77"/>
              </a:rPr>
            </a:br>
            <a:r>
              <a:rPr lang="en-GB" sz="1600" b="1">
                <a:solidFill>
                  <a:schemeClr val="accent5"/>
                </a:solidFill>
                <a:latin typeface="+mj-lt"/>
                <a:ea typeface="Lato Light" panose="020F0502020204030203" pitchFamily="34" charset="0"/>
                <a:cs typeface="Poppins" pitchFamily="2" charset="77"/>
              </a:rPr>
              <a:t>Back</a:t>
            </a:r>
            <a:endParaRPr lang="en-GB" sz="1600" b="1" dirty="0">
              <a:solidFill>
                <a:schemeClr val="accent5"/>
              </a:solidFill>
              <a:latin typeface="+mj-lt"/>
              <a:ea typeface="Lato Light" panose="020F0502020204030203" pitchFamily="34" charset="0"/>
              <a:cs typeface="Poppins" pitchFamily="2" charset="77"/>
            </a:endParaRPr>
          </a:p>
        </p:txBody>
      </p:sp>
    </p:spTree>
    <p:extLst>
      <p:ext uri="{BB962C8B-B14F-4D97-AF65-F5344CB8AC3E}">
        <p14:creationId xmlns:p14="http://schemas.microsoft.com/office/powerpoint/2010/main" val="7110738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875255" y="466072"/>
            <a:ext cx="8852375" cy="697353"/>
          </a:xfrm>
        </p:spPr>
        <p:txBody>
          <a:bodyPr>
            <a:normAutofit/>
          </a:bodyPr>
          <a:lstStyle/>
          <a:p>
            <a:r>
              <a:rPr lang="en-GB" dirty="0"/>
              <a:t>Overcoming a liquidity crisis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71944" y="1799727"/>
            <a:ext cx="3955623" cy="523763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To overcome the liquidity crisis, the liquidity reserves still available in the company must be mobilized and any remaining gaps must be closed externally, either by injecting liquid funds or through standstill agreements with creditors.</a:t>
            </a:r>
            <a:endParaRPr lang="en-US" sz="2000" dirty="0">
              <a:solidFill>
                <a:srgbClr val="245473"/>
              </a:solidFill>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The recovery of sufficient creditworthiness also requires that the company can improve its rating &amp; provide sufficient guarantees</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n addition to additional loans or shareholder contributions, the other possibilities are  ……..</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75" name="Group 18204">
            <a:extLst>
              <a:ext uri="{FF2B5EF4-FFF2-40B4-BE49-F238E27FC236}">
                <a16:creationId xmlns:a16="http://schemas.microsoft.com/office/drawing/2014/main" xmlns="" id="{41B8DF88-D728-4A54-B092-F9AB55088C33}"/>
              </a:ext>
            </a:extLst>
          </p:cNvPr>
          <p:cNvGrpSpPr/>
          <p:nvPr/>
        </p:nvGrpSpPr>
        <p:grpSpPr>
          <a:xfrm>
            <a:off x="4339480" y="3188741"/>
            <a:ext cx="1415796" cy="1577513"/>
            <a:chOff x="0" y="0"/>
            <a:chExt cx="1905957" cy="2123662"/>
          </a:xfrm>
        </p:grpSpPr>
        <p:sp>
          <p:nvSpPr>
            <p:cNvPr id="76" name="Shape 18202">
              <a:extLst>
                <a:ext uri="{FF2B5EF4-FFF2-40B4-BE49-F238E27FC236}">
                  <a16:creationId xmlns:a16="http://schemas.microsoft.com/office/drawing/2014/main" xmlns="" id="{F6CBE937-68D8-42DB-A83F-52649AC5B494}"/>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77" name="Shape 18203">
              <a:extLst>
                <a:ext uri="{FF2B5EF4-FFF2-40B4-BE49-F238E27FC236}">
                  <a16:creationId xmlns:a16="http://schemas.microsoft.com/office/drawing/2014/main" xmlns="" id="{CC9EF858-94FE-431C-B4B4-FF47D0250217}"/>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78" name="Group 18207">
            <a:extLst>
              <a:ext uri="{FF2B5EF4-FFF2-40B4-BE49-F238E27FC236}">
                <a16:creationId xmlns:a16="http://schemas.microsoft.com/office/drawing/2014/main" xmlns="" id="{031BC639-2269-4565-B8EE-2F546F4370AA}"/>
              </a:ext>
            </a:extLst>
          </p:cNvPr>
          <p:cNvGrpSpPr/>
          <p:nvPr/>
        </p:nvGrpSpPr>
        <p:grpSpPr>
          <a:xfrm>
            <a:off x="8266036" y="2390762"/>
            <a:ext cx="1733782" cy="2063284"/>
            <a:chOff x="0" y="0"/>
            <a:chExt cx="2334032" cy="2777611"/>
          </a:xfrm>
        </p:grpSpPr>
        <p:sp>
          <p:nvSpPr>
            <p:cNvPr id="79" name="Shape 18205">
              <a:extLst>
                <a:ext uri="{FF2B5EF4-FFF2-40B4-BE49-F238E27FC236}">
                  <a16:creationId xmlns:a16="http://schemas.microsoft.com/office/drawing/2014/main" xmlns="" id="{85CCC825-863C-4CC5-A3D4-2616A10C2C48}"/>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chemeClr val="accent5"/>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0" name="Shape 18206">
              <a:extLst>
                <a:ext uri="{FF2B5EF4-FFF2-40B4-BE49-F238E27FC236}">
                  <a16:creationId xmlns:a16="http://schemas.microsoft.com/office/drawing/2014/main" xmlns="" id="{36DDA0C6-2E09-443D-960F-93A39EF1DACC}"/>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chemeClr val="accent5">
                <a:lumMod val="75000"/>
                <a:lumOff val="2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81" name="Group 18211">
            <a:extLst>
              <a:ext uri="{FF2B5EF4-FFF2-40B4-BE49-F238E27FC236}">
                <a16:creationId xmlns:a16="http://schemas.microsoft.com/office/drawing/2014/main" xmlns="" id="{E9F173B0-286C-4A05-B98D-E01602913BAB}"/>
              </a:ext>
            </a:extLst>
          </p:cNvPr>
          <p:cNvGrpSpPr/>
          <p:nvPr/>
        </p:nvGrpSpPr>
        <p:grpSpPr>
          <a:xfrm>
            <a:off x="5276786" y="4081715"/>
            <a:ext cx="1347128" cy="1161728"/>
            <a:chOff x="0" y="0"/>
            <a:chExt cx="1813514" cy="1563927"/>
          </a:xfrm>
        </p:grpSpPr>
        <p:sp>
          <p:nvSpPr>
            <p:cNvPr id="82" name="Shape 18208">
              <a:extLst>
                <a:ext uri="{FF2B5EF4-FFF2-40B4-BE49-F238E27FC236}">
                  <a16:creationId xmlns:a16="http://schemas.microsoft.com/office/drawing/2014/main" xmlns="" id="{37C6052E-73B1-4A4A-BAD8-75BDA545B260}"/>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chemeClr val="accent2">
                <a:lumMod val="50000"/>
              </a:schemeClr>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600" dirty="0">
                <a:latin typeface="+mj-lt"/>
                <a:ea typeface="Lato Light" panose="020F0502020204030203" pitchFamily="34" charset="0"/>
                <a:cs typeface="Lato Light" panose="020F0502020204030203" pitchFamily="34" charset="0"/>
              </a:endParaRPr>
            </a:p>
          </p:txBody>
        </p:sp>
        <p:sp>
          <p:nvSpPr>
            <p:cNvPr id="83" name="Shape 18209">
              <a:extLst>
                <a:ext uri="{FF2B5EF4-FFF2-40B4-BE49-F238E27FC236}">
                  <a16:creationId xmlns:a16="http://schemas.microsoft.com/office/drawing/2014/main" xmlns="" id="{9C7E4312-839A-42E6-BDAA-0ECC7FB80571}"/>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chemeClr val="accent2">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4" name="Shape 18210">
              <a:extLst>
                <a:ext uri="{FF2B5EF4-FFF2-40B4-BE49-F238E27FC236}">
                  <a16:creationId xmlns:a16="http://schemas.microsoft.com/office/drawing/2014/main" xmlns="" id="{304ED873-4D9F-4203-B20A-ADEA10DD639E}"/>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chemeClr val="accent2"/>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85" name="Group 18215">
            <a:extLst>
              <a:ext uri="{FF2B5EF4-FFF2-40B4-BE49-F238E27FC236}">
                <a16:creationId xmlns:a16="http://schemas.microsoft.com/office/drawing/2014/main" xmlns="" id="{3F89A189-3028-4831-B6FC-DB027289F20E}"/>
              </a:ext>
            </a:extLst>
          </p:cNvPr>
          <p:cNvGrpSpPr/>
          <p:nvPr/>
        </p:nvGrpSpPr>
        <p:grpSpPr>
          <a:xfrm>
            <a:off x="6682747" y="4366707"/>
            <a:ext cx="1172470" cy="898958"/>
            <a:chOff x="0" y="0"/>
            <a:chExt cx="1578389" cy="1210186"/>
          </a:xfrm>
        </p:grpSpPr>
        <p:sp>
          <p:nvSpPr>
            <p:cNvPr id="86" name="Shape 18212">
              <a:extLst>
                <a:ext uri="{FF2B5EF4-FFF2-40B4-BE49-F238E27FC236}">
                  <a16:creationId xmlns:a16="http://schemas.microsoft.com/office/drawing/2014/main" xmlns="" id="{2EB5E428-6346-481A-ACF0-1D17FDF6315A}"/>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chemeClr val="accent3">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7" name="Shape 18213">
              <a:extLst>
                <a:ext uri="{FF2B5EF4-FFF2-40B4-BE49-F238E27FC236}">
                  <a16:creationId xmlns:a16="http://schemas.microsoft.com/office/drawing/2014/main" xmlns="" id="{8D15C762-A334-4A50-AD5A-AE1064CC7E39}"/>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chemeClr val="accent3"/>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8" name="Shape 18214">
              <a:extLst>
                <a:ext uri="{FF2B5EF4-FFF2-40B4-BE49-F238E27FC236}">
                  <a16:creationId xmlns:a16="http://schemas.microsoft.com/office/drawing/2014/main" xmlns="" id="{FDD610B6-E3BF-44A5-91BA-1F436881427B}"/>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chemeClr val="accent3">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89" name="Group 18219">
            <a:extLst>
              <a:ext uri="{FF2B5EF4-FFF2-40B4-BE49-F238E27FC236}">
                <a16:creationId xmlns:a16="http://schemas.microsoft.com/office/drawing/2014/main" xmlns="" id="{59478F0C-1244-43AD-AF93-7206AD4743DC}"/>
              </a:ext>
            </a:extLst>
          </p:cNvPr>
          <p:cNvGrpSpPr/>
          <p:nvPr/>
        </p:nvGrpSpPr>
        <p:grpSpPr>
          <a:xfrm>
            <a:off x="7607389" y="3986719"/>
            <a:ext cx="1394113" cy="1126387"/>
            <a:chOff x="0" y="0"/>
            <a:chExt cx="1876767" cy="1516352"/>
          </a:xfrm>
        </p:grpSpPr>
        <p:sp>
          <p:nvSpPr>
            <p:cNvPr id="90" name="Shape 18216">
              <a:extLst>
                <a:ext uri="{FF2B5EF4-FFF2-40B4-BE49-F238E27FC236}">
                  <a16:creationId xmlns:a16="http://schemas.microsoft.com/office/drawing/2014/main" xmlns="" id="{30B618C6-6F20-4D18-BCE8-3BE31F8E2DAB}"/>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chemeClr val="accent4">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91" name="Shape 18217">
              <a:extLst>
                <a:ext uri="{FF2B5EF4-FFF2-40B4-BE49-F238E27FC236}">
                  <a16:creationId xmlns:a16="http://schemas.microsoft.com/office/drawing/2014/main" xmlns="" id="{46A4B4C4-153B-4375-AE5A-752FB99EE170}"/>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chemeClr val="accent4">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92" name="Shape 18218">
              <a:extLst>
                <a:ext uri="{FF2B5EF4-FFF2-40B4-BE49-F238E27FC236}">
                  <a16:creationId xmlns:a16="http://schemas.microsoft.com/office/drawing/2014/main" xmlns="" id="{4F632239-0782-4D0B-A90C-8580B0ED7233}"/>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chemeClr val="accent4"/>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sp>
        <p:nvSpPr>
          <p:cNvPr id="93" name="Shape 18237">
            <a:extLst>
              <a:ext uri="{FF2B5EF4-FFF2-40B4-BE49-F238E27FC236}">
                <a16:creationId xmlns:a16="http://schemas.microsoft.com/office/drawing/2014/main" xmlns="" id="{3BADCD4D-6094-4BB5-9D43-2BBD6ABA129A}"/>
              </a:ext>
            </a:extLst>
          </p:cNvPr>
          <p:cNvSpPr/>
          <p:nvPr/>
        </p:nvSpPr>
        <p:spPr>
          <a:xfrm>
            <a:off x="7840050" y="3047961"/>
            <a:ext cx="269327" cy="12852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4" name="Shape 18238">
            <a:extLst>
              <a:ext uri="{FF2B5EF4-FFF2-40B4-BE49-F238E27FC236}">
                <a16:creationId xmlns:a16="http://schemas.microsoft.com/office/drawing/2014/main" xmlns="" id="{9887A5AF-B6B3-4DC7-961B-E89A48FC241C}"/>
              </a:ext>
            </a:extLst>
          </p:cNvPr>
          <p:cNvSpPr/>
          <p:nvPr/>
        </p:nvSpPr>
        <p:spPr>
          <a:xfrm>
            <a:off x="6088844" y="3416735"/>
            <a:ext cx="269327" cy="99798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5" name="Shape 18239">
            <a:extLst>
              <a:ext uri="{FF2B5EF4-FFF2-40B4-BE49-F238E27FC236}">
                <a16:creationId xmlns:a16="http://schemas.microsoft.com/office/drawing/2014/main" xmlns="" id="{77BFFF31-93DB-4FB8-9106-53B956ACB34E}"/>
              </a:ext>
            </a:extLst>
          </p:cNvPr>
          <p:cNvSpPr/>
          <p:nvPr/>
        </p:nvSpPr>
        <p:spPr>
          <a:xfrm>
            <a:off x="7233496" y="5005287"/>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6" name="Shape 18240">
            <a:extLst>
              <a:ext uri="{FF2B5EF4-FFF2-40B4-BE49-F238E27FC236}">
                <a16:creationId xmlns:a16="http://schemas.microsoft.com/office/drawing/2014/main" xmlns="" id="{C172D41A-C274-47D7-86AB-73C9E1F87100}"/>
              </a:ext>
            </a:extLst>
          </p:cNvPr>
          <p:cNvSpPr/>
          <p:nvPr/>
        </p:nvSpPr>
        <p:spPr>
          <a:xfrm rot="5400000" flipH="1">
            <a:off x="10043571" y="2003447"/>
            <a:ext cx="293200" cy="8437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7" name="Shape 18241">
            <a:extLst>
              <a:ext uri="{FF2B5EF4-FFF2-40B4-BE49-F238E27FC236}">
                <a16:creationId xmlns:a16="http://schemas.microsoft.com/office/drawing/2014/main" xmlns="" id="{24E3E47A-8CE8-4477-8134-6AB33B0BE726}"/>
              </a:ext>
            </a:extLst>
          </p:cNvPr>
          <p:cNvSpPr/>
          <p:nvPr/>
        </p:nvSpPr>
        <p:spPr>
          <a:xfrm>
            <a:off x="4521782" y="4176605"/>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8" name="TextBox 45">
            <a:extLst>
              <a:ext uri="{FF2B5EF4-FFF2-40B4-BE49-F238E27FC236}">
                <a16:creationId xmlns:a16="http://schemas.microsoft.com/office/drawing/2014/main" xmlns="" id="{A472781F-A7FD-4CF7-B792-E246C713C1D4}"/>
              </a:ext>
            </a:extLst>
          </p:cNvPr>
          <p:cNvSpPr txBox="1"/>
          <p:nvPr/>
        </p:nvSpPr>
        <p:spPr>
          <a:xfrm>
            <a:off x="3994818" y="5608064"/>
            <a:ext cx="2365406" cy="604909"/>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Payment into the capital reserves vs. capital increase</a:t>
            </a:r>
            <a:endParaRPr lang="en-GB" sz="1600" dirty="0">
              <a:latin typeface="+mj-lt"/>
              <a:ea typeface="Lato Light" panose="020F0502020204030203" pitchFamily="34" charset="0"/>
              <a:cs typeface="Lato Light" panose="020F0502020204030203" pitchFamily="34" charset="0"/>
            </a:endParaRPr>
          </a:p>
        </p:txBody>
      </p:sp>
      <p:sp>
        <p:nvSpPr>
          <p:cNvPr id="99" name="TextBox 46">
            <a:extLst>
              <a:ext uri="{FF2B5EF4-FFF2-40B4-BE49-F238E27FC236}">
                <a16:creationId xmlns:a16="http://schemas.microsoft.com/office/drawing/2014/main" xmlns="" id="{9EDCE622-3755-4616-A286-089B918C8092}"/>
              </a:ext>
            </a:extLst>
          </p:cNvPr>
          <p:cNvSpPr txBox="1"/>
          <p:nvPr/>
        </p:nvSpPr>
        <p:spPr>
          <a:xfrm>
            <a:off x="3994817" y="5365463"/>
            <a:ext cx="1419941" cy="338554"/>
          </a:xfrm>
          <a:prstGeom prst="rect">
            <a:avLst/>
          </a:prstGeom>
          <a:noFill/>
        </p:spPr>
        <p:txBody>
          <a:bodyPr wrap="none" rtlCol="0" anchor="t">
            <a:spAutoFit/>
          </a:bodyPr>
          <a:lstStyle/>
          <a:p>
            <a:r>
              <a:rPr lang="en-GB" sz="1600" b="1">
                <a:solidFill>
                  <a:schemeClr val="accent1"/>
                </a:solidFill>
                <a:latin typeface="+mj-lt"/>
                <a:ea typeface="Lato Light" panose="020F0502020204030203" pitchFamily="34" charset="0"/>
                <a:cs typeface="Poppins" pitchFamily="2" charset="77"/>
              </a:rPr>
              <a:t>Capital Reserve</a:t>
            </a:r>
            <a:endParaRPr lang="en-GB" sz="1600" b="1" dirty="0">
              <a:solidFill>
                <a:schemeClr val="accent1"/>
              </a:solidFill>
              <a:latin typeface="+mj-lt"/>
              <a:ea typeface="Lato Light" panose="020F0502020204030203" pitchFamily="34" charset="0"/>
              <a:cs typeface="Poppins" pitchFamily="2" charset="77"/>
            </a:endParaRPr>
          </a:p>
        </p:txBody>
      </p:sp>
      <p:sp>
        <p:nvSpPr>
          <p:cNvPr id="100" name="TextBox 49">
            <a:extLst>
              <a:ext uri="{FF2B5EF4-FFF2-40B4-BE49-F238E27FC236}">
                <a16:creationId xmlns:a16="http://schemas.microsoft.com/office/drawing/2014/main" xmlns="" id="{14F98727-D4E1-4EC2-B7D8-F45D7B618CC9}"/>
              </a:ext>
            </a:extLst>
          </p:cNvPr>
          <p:cNvSpPr txBox="1"/>
          <p:nvPr/>
        </p:nvSpPr>
        <p:spPr>
          <a:xfrm>
            <a:off x="3994818" y="2472592"/>
            <a:ext cx="2365406" cy="438197"/>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quity through external investors - Private Equity</a:t>
            </a:r>
            <a:endParaRPr lang="en-GB" sz="1600" dirty="0">
              <a:latin typeface="+mj-lt"/>
              <a:ea typeface="Lato Light" panose="020F0502020204030203" pitchFamily="34" charset="0"/>
              <a:cs typeface="Lato Light" panose="020F0502020204030203" pitchFamily="34" charset="0"/>
            </a:endParaRPr>
          </a:p>
        </p:txBody>
      </p:sp>
      <p:sp>
        <p:nvSpPr>
          <p:cNvPr id="101" name="TextBox 50">
            <a:extLst>
              <a:ext uri="{FF2B5EF4-FFF2-40B4-BE49-F238E27FC236}">
                <a16:creationId xmlns:a16="http://schemas.microsoft.com/office/drawing/2014/main" xmlns="" id="{307FB8D1-A563-4C0C-B801-4C6F4769E550}"/>
              </a:ext>
            </a:extLst>
          </p:cNvPr>
          <p:cNvSpPr txBox="1"/>
          <p:nvPr/>
        </p:nvSpPr>
        <p:spPr>
          <a:xfrm>
            <a:off x="3994817" y="2229991"/>
            <a:ext cx="909608" cy="338554"/>
          </a:xfrm>
          <a:prstGeom prst="rect">
            <a:avLst/>
          </a:prstGeom>
          <a:noFill/>
        </p:spPr>
        <p:txBody>
          <a:bodyPr wrap="none" rtlCol="0" anchor="t">
            <a:spAutoFit/>
          </a:bodyPr>
          <a:lstStyle/>
          <a:p>
            <a:r>
              <a:rPr lang="en-GB" sz="1600" b="1">
                <a:solidFill>
                  <a:schemeClr val="accent2"/>
                </a:solidFill>
                <a:latin typeface="+mj-lt"/>
                <a:ea typeface="Lato Light" panose="020F0502020204030203" pitchFamily="34" charset="0"/>
                <a:cs typeface="Poppins" pitchFamily="2" charset="77"/>
              </a:rPr>
              <a:t>Investors</a:t>
            </a:r>
            <a:endParaRPr lang="en-GB" sz="1600" b="1" dirty="0">
              <a:solidFill>
                <a:schemeClr val="accent2"/>
              </a:solidFill>
              <a:latin typeface="+mj-lt"/>
              <a:ea typeface="Lato Light" panose="020F0502020204030203" pitchFamily="34" charset="0"/>
              <a:cs typeface="Poppins" pitchFamily="2" charset="77"/>
            </a:endParaRPr>
          </a:p>
        </p:txBody>
      </p:sp>
      <p:sp>
        <p:nvSpPr>
          <p:cNvPr id="102" name="TextBox 52">
            <a:extLst>
              <a:ext uri="{FF2B5EF4-FFF2-40B4-BE49-F238E27FC236}">
                <a16:creationId xmlns:a16="http://schemas.microsoft.com/office/drawing/2014/main" xmlns="" id="{0FD09A67-E0B9-4AFD-AA77-6376220F2C12}"/>
              </a:ext>
            </a:extLst>
          </p:cNvPr>
          <p:cNvSpPr txBox="1"/>
          <p:nvPr/>
        </p:nvSpPr>
        <p:spPr>
          <a:xfrm>
            <a:off x="6766455" y="2099053"/>
            <a:ext cx="2365406" cy="1105046"/>
          </a:xfrm>
          <a:prstGeom prst="rect">
            <a:avLst/>
          </a:prstGeom>
          <a:noFill/>
        </p:spPr>
        <p:txBody>
          <a:bodyPr wrap="square" lIns="91440" tIns="45720" rIns="91440" bIns="45720" rtlCol="0" anchor="t">
            <a:spAutoFit/>
          </a:bodyPr>
          <a:lstStyle/>
          <a:p>
            <a:pPr>
              <a:lnSpc>
                <a:spcPts val="1313"/>
              </a:lnSpc>
            </a:pPr>
            <a:r>
              <a:rPr lang="en-GB" sz="1600" dirty="0">
                <a:latin typeface="+mj-lt"/>
                <a:ea typeface="Lato Light" panose="020F0502020204030203" pitchFamily="34" charset="0"/>
                <a:cs typeface="Lato Light" panose="020F0502020204030203" pitchFamily="34" charset="0"/>
              </a:rPr>
              <a:t>Mezzanine capital injection (financial resources with an intermediate position between equity </a:t>
            </a:r>
            <a:br>
              <a:rPr lang="en-GB" sz="1600" dirty="0">
                <a:latin typeface="+mj-lt"/>
                <a:ea typeface="Lato Light" panose="020F0502020204030203" pitchFamily="34" charset="0"/>
                <a:cs typeface="Lato Light" panose="020F0502020204030203" pitchFamily="34" charset="0"/>
              </a:rPr>
            </a:br>
            <a:r>
              <a:rPr lang="en-GB" sz="1600">
                <a:latin typeface="+mj-lt"/>
                <a:ea typeface="Lato Light" panose="020F0502020204030203" pitchFamily="34" charset="0"/>
                <a:cs typeface="Lato Light" panose="020F0502020204030203" pitchFamily="34" charset="0"/>
              </a:rPr>
              <a:t>and dept)</a:t>
            </a:r>
          </a:p>
        </p:txBody>
      </p:sp>
      <p:sp>
        <p:nvSpPr>
          <p:cNvPr id="103" name="TextBox 53">
            <a:extLst>
              <a:ext uri="{FF2B5EF4-FFF2-40B4-BE49-F238E27FC236}">
                <a16:creationId xmlns:a16="http://schemas.microsoft.com/office/drawing/2014/main" xmlns="" id="{80F58013-4102-4EA5-810E-84CED3F9F405}"/>
              </a:ext>
            </a:extLst>
          </p:cNvPr>
          <p:cNvSpPr txBox="1"/>
          <p:nvPr/>
        </p:nvSpPr>
        <p:spPr>
          <a:xfrm>
            <a:off x="6766455" y="1820654"/>
            <a:ext cx="1625958" cy="338554"/>
          </a:xfrm>
          <a:prstGeom prst="rect">
            <a:avLst/>
          </a:prstGeom>
          <a:noFill/>
        </p:spPr>
        <p:txBody>
          <a:bodyPr wrap="none" rtlCol="0" anchor="t">
            <a:spAutoFit/>
          </a:bodyPr>
          <a:lstStyle/>
          <a:p>
            <a:r>
              <a:rPr lang="en-GB" sz="1600" b="1">
                <a:solidFill>
                  <a:schemeClr val="accent4"/>
                </a:solidFill>
                <a:latin typeface="+mj-lt"/>
                <a:ea typeface="Lato Light" panose="020F0502020204030203" pitchFamily="34" charset="0"/>
                <a:cs typeface="Poppins" pitchFamily="2" charset="77"/>
              </a:rPr>
              <a:t>Mezzanine capital</a:t>
            </a:r>
            <a:endParaRPr lang="en-GB" sz="1600" b="1" dirty="0">
              <a:solidFill>
                <a:schemeClr val="accent4"/>
              </a:solidFill>
              <a:latin typeface="+mj-lt"/>
              <a:ea typeface="Lato Light" panose="020F0502020204030203" pitchFamily="34" charset="0"/>
              <a:cs typeface="Poppins" pitchFamily="2" charset="77"/>
            </a:endParaRPr>
          </a:p>
        </p:txBody>
      </p:sp>
      <p:sp>
        <p:nvSpPr>
          <p:cNvPr id="104" name="TextBox 55">
            <a:extLst>
              <a:ext uri="{FF2B5EF4-FFF2-40B4-BE49-F238E27FC236}">
                <a16:creationId xmlns:a16="http://schemas.microsoft.com/office/drawing/2014/main" xmlns="" id="{0A4CD48D-FC57-4CCC-BC0E-981552418266}"/>
              </a:ext>
            </a:extLst>
          </p:cNvPr>
          <p:cNvSpPr txBox="1"/>
          <p:nvPr/>
        </p:nvSpPr>
        <p:spPr>
          <a:xfrm>
            <a:off x="7085800" y="5495773"/>
            <a:ext cx="4968814" cy="938334"/>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Nominal capital increase = conversion of free reserves into liable capital (share capital and nominal capital)</a:t>
            </a:r>
          </a:p>
          <a:p>
            <a:pPr>
              <a:lnSpc>
                <a:spcPts val="1313"/>
              </a:lnSpc>
            </a:pPr>
            <a:r>
              <a:rPr lang="en-GB" sz="1600">
                <a:latin typeface="+mj-lt"/>
                <a:ea typeface="Lato Light" panose="020F0502020204030203" pitchFamily="34" charset="0"/>
                <a:cs typeface="Lato Light" panose="020F0502020204030203" pitchFamily="34" charset="0"/>
              </a:rPr>
              <a:t>Effective capital increase = capital increase against contributions (cash or non-cash), authorized or conditional capital increase</a:t>
            </a:r>
            <a:endParaRPr lang="en-GB" sz="1600" dirty="0">
              <a:latin typeface="+mj-lt"/>
              <a:ea typeface="Lato Light" panose="020F0502020204030203" pitchFamily="34" charset="0"/>
              <a:cs typeface="Lato Light" panose="020F0502020204030203" pitchFamily="34" charset="0"/>
            </a:endParaRPr>
          </a:p>
        </p:txBody>
      </p:sp>
      <p:sp>
        <p:nvSpPr>
          <p:cNvPr id="105" name="TextBox 56">
            <a:extLst>
              <a:ext uri="{FF2B5EF4-FFF2-40B4-BE49-F238E27FC236}">
                <a16:creationId xmlns:a16="http://schemas.microsoft.com/office/drawing/2014/main" xmlns="" id="{FDED9551-93A9-4F4F-B401-C475951FA8B1}"/>
              </a:ext>
            </a:extLst>
          </p:cNvPr>
          <p:cNvSpPr txBox="1"/>
          <p:nvPr/>
        </p:nvSpPr>
        <p:spPr>
          <a:xfrm>
            <a:off x="8105819" y="5253172"/>
            <a:ext cx="3152210" cy="338554"/>
          </a:xfrm>
          <a:prstGeom prst="rect">
            <a:avLst/>
          </a:prstGeom>
          <a:noFill/>
        </p:spPr>
        <p:txBody>
          <a:bodyPr wrap="none" rtlCol="0" anchor="t">
            <a:spAutoFit/>
          </a:bodyPr>
          <a:lstStyle/>
          <a:p>
            <a:r>
              <a:rPr lang="en-GB" sz="1600" b="1">
                <a:solidFill>
                  <a:schemeClr val="accent3"/>
                </a:solidFill>
                <a:latin typeface="+mj-lt"/>
                <a:ea typeface="Lato Light" panose="020F0502020204030203" pitchFamily="34" charset="0"/>
                <a:cs typeface="Poppins" pitchFamily="2" charset="77"/>
              </a:rPr>
              <a:t>Nominal vs. effective capital increase</a:t>
            </a:r>
            <a:endParaRPr lang="en-GB" sz="1600" b="1" dirty="0">
              <a:solidFill>
                <a:schemeClr val="accent3"/>
              </a:solidFill>
              <a:latin typeface="+mj-lt"/>
              <a:ea typeface="Lato Light" panose="020F0502020204030203" pitchFamily="34" charset="0"/>
              <a:cs typeface="Poppins" pitchFamily="2" charset="77"/>
            </a:endParaRPr>
          </a:p>
        </p:txBody>
      </p:sp>
      <p:sp>
        <p:nvSpPr>
          <p:cNvPr id="106" name="TextBox 58">
            <a:extLst>
              <a:ext uri="{FF2B5EF4-FFF2-40B4-BE49-F238E27FC236}">
                <a16:creationId xmlns:a16="http://schemas.microsoft.com/office/drawing/2014/main" xmlns="" id="{E254644E-FB3C-44BC-BA30-603C22445203}"/>
              </a:ext>
            </a:extLst>
          </p:cNvPr>
          <p:cNvSpPr txBox="1"/>
          <p:nvPr/>
        </p:nvSpPr>
        <p:spPr>
          <a:xfrm>
            <a:off x="10172336" y="2571932"/>
            <a:ext cx="1711446" cy="2438745"/>
          </a:xfrm>
          <a:prstGeom prst="rect">
            <a:avLst/>
          </a:prstGeom>
          <a:noFill/>
        </p:spPr>
        <p:txBody>
          <a:bodyPr wrap="square" rtlCol="0" anchor="t">
            <a:spAutoFit/>
          </a:bodyPr>
          <a:lstStyle/>
          <a:p>
            <a:pPr marL="85725" indent="-85725">
              <a:lnSpc>
                <a:spcPts val="1313"/>
              </a:lnSpc>
              <a:buFont typeface="Arial" panose="020B0604020202020204" pitchFamily="34" charset="0"/>
              <a:buChar char="•"/>
            </a:pPr>
            <a:r>
              <a:rPr lang="en-GB" sz="1600">
                <a:latin typeface="+mj-lt"/>
                <a:ea typeface="Lato Light" panose="020F0502020204030203" pitchFamily="34" charset="0"/>
                <a:cs typeface="Lato Light" panose="020F0502020204030203" pitchFamily="34" charset="0"/>
              </a:rPr>
              <a:t>Shareholder loan</a:t>
            </a:r>
          </a:p>
          <a:p>
            <a:pPr marL="85725" indent="-85725">
              <a:lnSpc>
                <a:spcPts val="1313"/>
              </a:lnSpc>
              <a:buFont typeface="Arial" panose="020B0604020202020204" pitchFamily="34" charset="0"/>
              <a:buChar char="•"/>
            </a:pPr>
            <a:r>
              <a:rPr lang="en-GB" sz="1600">
                <a:latin typeface="+mj-lt"/>
                <a:ea typeface="Lato Light" panose="020F0502020204030203" pitchFamily="34" charset="0"/>
                <a:cs typeface="Lato Light" panose="020F0502020204030203" pitchFamily="34" charset="0"/>
              </a:rPr>
              <a:t>Atypical/typical silent partnership</a:t>
            </a:r>
          </a:p>
          <a:p>
            <a:pPr marL="85725" indent="-85725">
              <a:lnSpc>
                <a:spcPts val="1313"/>
              </a:lnSpc>
              <a:buFont typeface="Arial" panose="020B0604020202020204" pitchFamily="34" charset="0"/>
              <a:buChar char="•"/>
            </a:pPr>
            <a:r>
              <a:rPr lang="en-GB" sz="1600">
                <a:latin typeface="+mj-lt"/>
                <a:ea typeface="Lato Light" panose="020F0502020204030203" pitchFamily="34" charset="0"/>
                <a:cs typeface="Lato Light" panose="020F0502020204030203" pitchFamily="34" charset="0"/>
              </a:rPr>
              <a:t>Profit participation certificate</a:t>
            </a:r>
          </a:p>
          <a:p>
            <a:pPr marL="85725" indent="-85725">
              <a:lnSpc>
                <a:spcPts val="1313"/>
              </a:lnSpc>
              <a:buFont typeface="Arial" panose="020B0604020202020204" pitchFamily="34" charset="0"/>
              <a:buChar char="•"/>
            </a:pPr>
            <a:r>
              <a:rPr lang="en-GB" sz="1600">
                <a:latin typeface="+mj-lt"/>
                <a:ea typeface="Lato Light" panose="020F0502020204030203" pitchFamily="34" charset="0"/>
                <a:cs typeface="Lato Light" panose="020F0502020204030203" pitchFamily="34" charset="0"/>
              </a:rPr>
              <a:t>Option and convertible bonds</a:t>
            </a:r>
          </a:p>
          <a:p>
            <a:pPr marL="85725" indent="-85725">
              <a:lnSpc>
                <a:spcPts val="1313"/>
              </a:lnSpc>
              <a:buFont typeface="Arial" panose="020B0604020202020204" pitchFamily="34" charset="0"/>
              <a:buChar char="•"/>
            </a:pPr>
            <a:r>
              <a:rPr lang="en-GB" sz="1600">
                <a:latin typeface="+mj-lt"/>
                <a:ea typeface="Lato Light" panose="020F0502020204030203" pitchFamily="34" charset="0"/>
                <a:cs typeface="Lato Light" panose="020F0502020204030203" pitchFamily="34" charset="0"/>
              </a:rPr>
              <a:t>Subordinated loan (junior debt or subordinated debt)</a:t>
            </a:r>
          </a:p>
          <a:p>
            <a:pPr>
              <a:lnSpc>
                <a:spcPts val="1313"/>
              </a:lnSpc>
            </a:pPr>
            <a:endParaRPr lang="en-GB" sz="1600" dirty="0">
              <a:latin typeface="+mj-lt"/>
              <a:ea typeface="Lato Light" panose="020F0502020204030203" pitchFamily="34" charset="0"/>
              <a:cs typeface="Lato Light" panose="020F0502020204030203" pitchFamily="34" charset="0"/>
            </a:endParaRPr>
          </a:p>
        </p:txBody>
      </p:sp>
      <p:sp>
        <p:nvSpPr>
          <p:cNvPr id="107" name="TextBox 59">
            <a:extLst>
              <a:ext uri="{FF2B5EF4-FFF2-40B4-BE49-F238E27FC236}">
                <a16:creationId xmlns:a16="http://schemas.microsoft.com/office/drawing/2014/main" xmlns="" id="{1CFF7B76-9FA0-494D-8CD2-524EA55726B3}"/>
              </a:ext>
            </a:extLst>
          </p:cNvPr>
          <p:cNvSpPr txBox="1"/>
          <p:nvPr/>
        </p:nvSpPr>
        <p:spPr>
          <a:xfrm>
            <a:off x="10580527" y="2087792"/>
            <a:ext cx="728854" cy="338554"/>
          </a:xfrm>
          <a:prstGeom prst="rect">
            <a:avLst/>
          </a:prstGeom>
          <a:noFill/>
        </p:spPr>
        <p:txBody>
          <a:bodyPr wrap="none" rtlCol="0" anchor="t">
            <a:spAutoFit/>
          </a:bodyPr>
          <a:lstStyle/>
          <a:p>
            <a:r>
              <a:rPr lang="en-GB" sz="1600" b="1">
                <a:solidFill>
                  <a:schemeClr val="accent5"/>
                </a:solidFill>
                <a:latin typeface="+mj-lt"/>
                <a:ea typeface="Lato Light" panose="020F0502020204030203" pitchFamily="34" charset="0"/>
                <a:cs typeface="Poppins" pitchFamily="2" charset="77"/>
              </a:rPr>
              <a:t>Others</a:t>
            </a:r>
            <a:endParaRPr lang="en-GB" sz="1600" b="1" dirty="0">
              <a:solidFill>
                <a:schemeClr val="accent5"/>
              </a:solidFill>
              <a:latin typeface="+mj-lt"/>
              <a:ea typeface="Lato Light" panose="020F0502020204030203" pitchFamily="34" charset="0"/>
              <a:cs typeface="Poppins" pitchFamily="2" charset="77"/>
            </a:endParaRPr>
          </a:p>
        </p:txBody>
      </p:sp>
    </p:spTree>
    <p:extLst>
      <p:ext uri="{BB962C8B-B14F-4D97-AF65-F5344CB8AC3E}">
        <p14:creationId xmlns:p14="http://schemas.microsoft.com/office/powerpoint/2010/main" val="7330673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36122" y="586408"/>
            <a:ext cx="8852375" cy="697353"/>
          </a:xfrm>
        </p:spPr>
        <p:txBody>
          <a:bodyPr>
            <a:normAutofit/>
          </a:bodyPr>
          <a:lstStyle/>
          <a:p>
            <a:r>
              <a:rPr lang="en-GB" dirty="0"/>
              <a:t>Overcoming a liquidity crisis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00732" y="2017887"/>
            <a:ext cx="3016503" cy="429891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t is extremely difficult to acquire outside capital in advanced crisis phases. </a:t>
            </a:r>
            <a:endParaRPr lang="en-US" sz="2200" dirty="0">
              <a:solidFill>
                <a:srgbClr val="245473"/>
              </a:solidFill>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Banks are often no longer able to become active due to risk regulations.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 principle, financiers in a crisis demand plausible restructuring concepts, sufficient securities and higher interest rates.</a:t>
            </a:r>
          </a:p>
        </p:txBody>
      </p:sp>
      <p:sp>
        <p:nvSpPr>
          <p:cNvPr id="37" name="Freeform 45">
            <a:extLst>
              <a:ext uri="{FF2B5EF4-FFF2-40B4-BE49-F238E27FC236}">
                <a16:creationId xmlns:a16="http://schemas.microsoft.com/office/drawing/2014/main" xmlns="" id="{84F898AE-A3F7-4A75-990F-4560D28792D6}"/>
              </a:ext>
            </a:extLst>
          </p:cNvPr>
          <p:cNvSpPr/>
          <p:nvPr/>
        </p:nvSpPr>
        <p:spPr>
          <a:xfrm>
            <a:off x="6955228" y="1921927"/>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8" name="Freeform 42">
            <a:extLst>
              <a:ext uri="{FF2B5EF4-FFF2-40B4-BE49-F238E27FC236}">
                <a16:creationId xmlns:a16="http://schemas.microsoft.com/office/drawing/2014/main" xmlns="" id="{2BA635C5-8B1A-4A12-8890-BC8D0678F95D}"/>
              </a:ext>
            </a:extLst>
          </p:cNvPr>
          <p:cNvSpPr/>
          <p:nvPr/>
        </p:nvSpPr>
        <p:spPr>
          <a:xfrm>
            <a:off x="7952502" y="2500540"/>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Freeform 41">
            <a:extLst>
              <a:ext uri="{FF2B5EF4-FFF2-40B4-BE49-F238E27FC236}">
                <a16:creationId xmlns:a16="http://schemas.microsoft.com/office/drawing/2014/main" xmlns="" id="{8E19D918-130D-4121-956A-E2F8FB7232F2}"/>
              </a:ext>
            </a:extLst>
          </p:cNvPr>
          <p:cNvSpPr/>
          <p:nvPr/>
        </p:nvSpPr>
        <p:spPr>
          <a:xfrm>
            <a:off x="6075853" y="2500907"/>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Freeform 37">
            <a:extLst>
              <a:ext uri="{FF2B5EF4-FFF2-40B4-BE49-F238E27FC236}">
                <a16:creationId xmlns:a16="http://schemas.microsoft.com/office/drawing/2014/main" xmlns="" id="{40DA72CA-FE52-422D-88DE-EF81D6498414}"/>
              </a:ext>
            </a:extLst>
          </p:cNvPr>
          <p:cNvSpPr/>
          <p:nvPr/>
        </p:nvSpPr>
        <p:spPr>
          <a:xfrm>
            <a:off x="8212126" y="3591264"/>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1" name="Freeform 36">
            <a:extLst>
              <a:ext uri="{FF2B5EF4-FFF2-40B4-BE49-F238E27FC236}">
                <a16:creationId xmlns:a16="http://schemas.microsoft.com/office/drawing/2014/main" xmlns="" id="{6D027986-0E11-4555-88E9-83580D56B424}"/>
              </a:ext>
            </a:extLst>
          </p:cNvPr>
          <p:cNvSpPr/>
          <p:nvPr/>
        </p:nvSpPr>
        <p:spPr>
          <a:xfrm>
            <a:off x="5700154" y="3601541"/>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2" name="Freeform 35">
            <a:extLst>
              <a:ext uri="{FF2B5EF4-FFF2-40B4-BE49-F238E27FC236}">
                <a16:creationId xmlns:a16="http://schemas.microsoft.com/office/drawing/2014/main" xmlns="" id="{93202081-7B2E-4D98-AF03-04AB4ADE8F92}"/>
              </a:ext>
            </a:extLst>
          </p:cNvPr>
          <p:cNvSpPr/>
          <p:nvPr/>
        </p:nvSpPr>
        <p:spPr>
          <a:xfrm>
            <a:off x="7636442" y="4428994"/>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Freeform 34">
            <a:extLst>
              <a:ext uri="{FF2B5EF4-FFF2-40B4-BE49-F238E27FC236}">
                <a16:creationId xmlns:a16="http://schemas.microsoft.com/office/drawing/2014/main" xmlns="" id="{CAA6782D-C519-4D61-B73E-5CA517151A93}"/>
              </a:ext>
            </a:extLst>
          </p:cNvPr>
          <p:cNvSpPr/>
          <p:nvPr/>
        </p:nvSpPr>
        <p:spPr>
          <a:xfrm>
            <a:off x="6408068" y="4430164"/>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TextBox 73">
            <a:extLst>
              <a:ext uri="{FF2B5EF4-FFF2-40B4-BE49-F238E27FC236}">
                <a16:creationId xmlns:a16="http://schemas.microsoft.com/office/drawing/2014/main" xmlns="" id="{925AE4B4-4483-48CE-AE22-7BECBB1E1658}"/>
              </a:ext>
            </a:extLst>
          </p:cNvPr>
          <p:cNvSpPr txBox="1"/>
          <p:nvPr/>
        </p:nvSpPr>
        <p:spPr>
          <a:xfrm>
            <a:off x="4702468" y="3845395"/>
            <a:ext cx="859531"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Leasing</a:t>
            </a:r>
          </a:p>
        </p:txBody>
      </p:sp>
      <p:sp>
        <p:nvSpPr>
          <p:cNvPr id="53" name="TextBox 77">
            <a:extLst>
              <a:ext uri="{FF2B5EF4-FFF2-40B4-BE49-F238E27FC236}">
                <a16:creationId xmlns:a16="http://schemas.microsoft.com/office/drawing/2014/main" xmlns="" id="{CF2729CE-34A2-434A-B73B-139B78D1C0B6}"/>
              </a:ext>
            </a:extLst>
          </p:cNvPr>
          <p:cNvSpPr txBox="1"/>
          <p:nvPr/>
        </p:nvSpPr>
        <p:spPr>
          <a:xfrm>
            <a:off x="3707369" y="2684667"/>
            <a:ext cx="2195217" cy="646331"/>
          </a:xfrm>
          <a:prstGeom prst="rect">
            <a:avLst/>
          </a:prstGeom>
          <a:noFill/>
        </p:spPr>
        <p:txBody>
          <a:bodyPr wrap="none" lIns="91440" tIns="45720" rIns="91440" bIns="45720" rtlCol="0" anchor="b" anchorCtr="0">
            <a:spAutoFit/>
          </a:bodyPr>
          <a:lstStyle/>
          <a:p>
            <a:pPr algn="r"/>
            <a:r>
              <a:rPr lang="en-GB" b="1" dirty="0">
                <a:solidFill>
                  <a:schemeClr val="tx2"/>
                </a:solidFill>
                <a:latin typeface="+mj-lt"/>
                <a:ea typeface="League Spartan" charset="0"/>
                <a:cs typeface="Poppins" pitchFamily="2" charset="77"/>
              </a:rPr>
              <a:t>Loans from customers</a:t>
            </a:r>
            <a:r>
              <a:rPr lang="en-GB" b="1" dirty="0">
                <a:latin typeface="+mj-lt"/>
                <a:ea typeface="League Spartan" charset="0"/>
                <a:cs typeface="Poppins" pitchFamily="2" charset="77"/>
              </a:rPr>
              <a:t/>
            </a:r>
            <a:br>
              <a:rPr lang="en-GB" b="1" dirty="0">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advance payments</a:t>
            </a:r>
          </a:p>
        </p:txBody>
      </p:sp>
      <p:sp>
        <p:nvSpPr>
          <p:cNvPr id="55" name="TextBox 38">
            <a:extLst>
              <a:ext uri="{FF2B5EF4-FFF2-40B4-BE49-F238E27FC236}">
                <a16:creationId xmlns:a16="http://schemas.microsoft.com/office/drawing/2014/main" xmlns="" id="{B169B7DE-AF7D-4153-91DA-2FF62C80F3FC}"/>
              </a:ext>
            </a:extLst>
          </p:cNvPr>
          <p:cNvSpPr txBox="1"/>
          <p:nvPr/>
        </p:nvSpPr>
        <p:spPr>
          <a:xfrm>
            <a:off x="9122950" y="2076406"/>
            <a:ext cx="3097323" cy="646331"/>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New loans from financiers</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seasonal loans / bridging loans)</a:t>
            </a:r>
          </a:p>
        </p:txBody>
      </p:sp>
      <p:sp>
        <p:nvSpPr>
          <p:cNvPr id="57" name="TextBox 43">
            <a:extLst>
              <a:ext uri="{FF2B5EF4-FFF2-40B4-BE49-F238E27FC236}">
                <a16:creationId xmlns:a16="http://schemas.microsoft.com/office/drawing/2014/main" xmlns="" id="{8EA0616A-01EF-4053-9FA3-F620D8E82904}"/>
              </a:ext>
            </a:extLst>
          </p:cNvPr>
          <p:cNvSpPr txBox="1"/>
          <p:nvPr/>
        </p:nvSpPr>
        <p:spPr>
          <a:xfrm>
            <a:off x="9328208" y="4838363"/>
            <a:ext cx="1529393" cy="369332"/>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Supplier Credit</a:t>
            </a:r>
          </a:p>
        </p:txBody>
      </p:sp>
      <p:sp>
        <p:nvSpPr>
          <p:cNvPr id="59" name="TextBox 47">
            <a:extLst>
              <a:ext uri="{FF2B5EF4-FFF2-40B4-BE49-F238E27FC236}">
                <a16:creationId xmlns:a16="http://schemas.microsoft.com/office/drawing/2014/main" xmlns="" id="{76FB90E6-7BCC-4038-9E1D-1FD9B8097DC3}"/>
              </a:ext>
            </a:extLst>
          </p:cNvPr>
          <p:cNvSpPr txBox="1"/>
          <p:nvPr/>
        </p:nvSpPr>
        <p:spPr>
          <a:xfrm>
            <a:off x="9631999" y="3333805"/>
            <a:ext cx="2209003" cy="646331"/>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Deferment and waiver</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by third parties</a:t>
            </a:r>
          </a:p>
        </p:txBody>
      </p:sp>
      <p:sp>
        <p:nvSpPr>
          <p:cNvPr id="61" name="TextBox 49">
            <a:extLst>
              <a:ext uri="{FF2B5EF4-FFF2-40B4-BE49-F238E27FC236}">
                <a16:creationId xmlns:a16="http://schemas.microsoft.com/office/drawing/2014/main" xmlns="" id="{9E0EBD04-430F-45E4-AC2E-AE6E0312ABA2}"/>
              </a:ext>
            </a:extLst>
          </p:cNvPr>
          <p:cNvSpPr txBox="1"/>
          <p:nvPr/>
        </p:nvSpPr>
        <p:spPr>
          <a:xfrm>
            <a:off x="5191509" y="4895267"/>
            <a:ext cx="1027397"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Factoring</a:t>
            </a:r>
          </a:p>
        </p:txBody>
      </p:sp>
      <p:sp>
        <p:nvSpPr>
          <p:cNvPr id="63" name="TextBox 51">
            <a:extLst>
              <a:ext uri="{FF2B5EF4-FFF2-40B4-BE49-F238E27FC236}">
                <a16:creationId xmlns:a16="http://schemas.microsoft.com/office/drawing/2014/main" xmlns="" id="{3845AEE9-F942-44F7-B23F-1FA62DBF43C9}"/>
              </a:ext>
            </a:extLst>
          </p:cNvPr>
          <p:cNvSpPr txBox="1"/>
          <p:nvPr/>
        </p:nvSpPr>
        <p:spPr>
          <a:xfrm>
            <a:off x="4304354" y="1929881"/>
            <a:ext cx="2531079"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Shareholder Loan (Equity)</a:t>
            </a:r>
          </a:p>
        </p:txBody>
      </p:sp>
      <p:sp>
        <p:nvSpPr>
          <p:cNvPr id="65" name="TextBox 51">
            <a:extLst>
              <a:ext uri="{FF2B5EF4-FFF2-40B4-BE49-F238E27FC236}">
                <a16:creationId xmlns:a16="http://schemas.microsoft.com/office/drawing/2014/main" xmlns="" id="{4BAB2ABE-A346-4F45-976F-A339E4ACD72C}"/>
              </a:ext>
            </a:extLst>
          </p:cNvPr>
          <p:cNvSpPr txBox="1"/>
          <p:nvPr/>
        </p:nvSpPr>
        <p:spPr>
          <a:xfrm>
            <a:off x="7188608" y="3582570"/>
            <a:ext cx="737894" cy="584775"/>
          </a:xfrm>
          <a:prstGeom prst="rect">
            <a:avLst/>
          </a:prstGeom>
          <a:noFill/>
        </p:spPr>
        <p:txBody>
          <a:bodyPr wrap="none" rtlCol="0" anchor="b" anchorCtr="0">
            <a:spAutoFit/>
          </a:bodyPr>
          <a:lstStyle/>
          <a:p>
            <a:pPr algn="ctr"/>
            <a:r>
              <a:rPr lang="en-GB" sz="1600" b="1">
                <a:solidFill>
                  <a:schemeClr val="tx2"/>
                </a:solidFill>
                <a:latin typeface="+mj-lt"/>
                <a:ea typeface="League Spartan" charset="0"/>
                <a:cs typeface="Poppins" pitchFamily="2" charset="77"/>
              </a:rPr>
              <a:t>Debt</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Capital</a:t>
            </a:r>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205006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3518" y="515507"/>
            <a:ext cx="8852375" cy="697353"/>
          </a:xfrm>
        </p:spPr>
        <p:txBody>
          <a:bodyPr>
            <a:normAutofit/>
          </a:bodyPr>
          <a:lstStyle/>
          <a:p>
            <a:r>
              <a:rPr lang="en-GB" dirty="0"/>
              <a:t>Quick Measures: Marketing and Sal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25808" y="2055551"/>
            <a:ext cx="2256429"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When facing a virulent business crisis, all solutions that demand little upfront investment and have an immediate positive effect on cash flows are especially suitable. </a:t>
            </a:r>
            <a:endParaRPr lang="en-US" dirty="0">
              <a:solidFill>
                <a:srgbClr val="245473"/>
              </a:solidFill>
            </a:endParaRPr>
          </a:p>
        </p:txBody>
      </p:sp>
      <p:sp>
        <p:nvSpPr>
          <p:cNvPr id="22" name="Freeform 61">
            <a:extLst>
              <a:ext uri="{FF2B5EF4-FFF2-40B4-BE49-F238E27FC236}">
                <a16:creationId xmlns:a16="http://schemas.microsoft.com/office/drawing/2014/main" xmlns="" id="{361A3FCD-D7D7-4355-A5A1-9B54C1038196}"/>
              </a:ext>
            </a:extLst>
          </p:cNvPr>
          <p:cNvSpPr/>
          <p:nvPr/>
        </p:nvSpPr>
        <p:spPr>
          <a:xfrm rot="1363340">
            <a:off x="6981834" y="2166903"/>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Freeform 75">
            <a:extLst>
              <a:ext uri="{FF2B5EF4-FFF2-40B4-BE49-F238E27FC236}">
                <a16:creationId xmlns:a16="http://schemas.microsoft.com/office/drawing/2014/main" xmlns="" id="{3B0031A6-37AF-4A14-9399-BFEF2633D35A}"/>
              </a:ext>
            </a:extLst>
          </p:cNvPr>
          <p:cNvSpPr/>
          <p:nvPr/>
        </p:nvSpPr>
        <p:spPr>
          <a:xfrm rot="1363340">
            <a:off x="7671719" y="2933497"/>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4" name="Freeform 63">
            <a:extLst>
              <a:ext uri="{FF2B5EF4-FFF2-40B4-BE49-F238E27FC236}">
                <a16:creationId xmlns:a16="http://schemas.microsoft.com/office/drawing/2014/main" xmlns="" id="{74EC6A1F-D0DF-4D87-B9F0-1FF922EF1C32}"/>
              </a:ext>
            </a:extLst>
          </p:cNvPr>
          <p:cNvSpPr/>
          <p:nvPr/>
        </p:nvSpPr>
        <p:spPr>
          <a:xfrm rot="1363340">
            <a:off x="5996210" y="2232055"/>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5" name="Freeform 65">
            <a:extLst>
              <a:ext uri="{FF2B5EF4-FFF2-40B4-BE49-F238E27FC236}">
                <a16:creationId xmlns:a16="http://schemas.microsoft.com/office/drawing/2014/main" xmlns="" id="{3E1AA224-C669-4D6B-9E49-4B7D3C684148}"/>
              </a:ext>
            </a:extLst>
          </p:cNvPr>
          <p:cNvSpPr/>
          <p:nvPr/>
        </p:nvSpPr>
        <p:spPr>
          <a:xfrm rot="1363340">
            <a:off x="5231719" y="2895372"/>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 name="Freeform 73">
            <a:extLst>
              <a:ext uri="{FF2B5EF4-FFF2-40B4-BE49-F238E27FC236}">
                <a16:creationId xmlns:a16="http://schemas.microsoft.com/office/drawing/2014/main" xmlns="" id="{8E976339-5835-448E-8AE2-B93D23E9593B}"/>
              </a:ext>
            </a:extLst>
          </p:cNvPr>
          <p:cNvSpPr/>
          <p:nvPr/>
        </p:nvSpPr>
        <p:spPr>
          <a:xfrm rot="1363340">
            <a:off x="7687607" y="3926657"/>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Freeform 67">
            <a:extLst>
              <a:ext uri="{FF2B5EF4-FFF2-40B4-BE49-F238E27FC236}">
                <a16:creationId xmlns:a16="http://schemas.microsoft.com/office/drawing/2014/main" xmlns="" id="{C67F7723-1E47-4F65-8429-7019E5672075}"/>
              </a:ext>
            </a:extLst>
          </p:cNvPr>
          <p:cNvSpPr/>
          <p:nvPr/>
        </p:nvSpPr>
        <p:spPr>
          <a:xfrm rot="1363340">
            <a:off x="5295019" y="3904344"/>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Freeform 71">
            <a:extLst>
              <a:ext uri="{FF2B5EF4-FFF2-40B4-BE49-F238E27FC236}">
                <a16:creationId xmlns:a16="http://schemas.microsoft.com/office/drawing/2014/main" xmlns="" id="{109F3C60-32FD-40AB-B3B6-CA40C2DBA79F}"/>
              </a:ext>
            </a:extLst>
          </p:cNvPr>
          <p:cNvSpPr/>
          <p:nvPr/>
        </p:nvSpPr>
        <p:spPr>
          <a:xfrm rot="1363340">
            <a:off x="6972421" y="4607271"/>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9" name="Freeform 69">
            <a:extLst>
              <a:ext uri="{FF2B5EF4-FFF2-40B4-BE49-F238E27FC236}">
                <a16:creationId xmlns:a16="http://schemas.microsoft.com/office/drawing/2014/main" xmlns="" id="{F6AC6288-AA85-47F2-BA50-B6A2A9B64AC2}"/>
              </a:ext>
            </a:extLst>
          </p:cNvPr>
          <p:cNvSpPr/>
          <p:nvPr/>
        </p:nvSpPr>
        <p:spPr>
          <a:xfrm rot="1363340">
            <a:off x="5956797" y="4623623"/>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0" name="Oval 76">
            <a:extLst>
              <a:ext uri="{FF2B5EF4-FFF2-40B4-BE49-F238E27FC236}">
                <a16:creationId xmlns:a16="http://schemas.microsoft.com/office/drawing/2014/main" xmlns="" id="{BD98693B-F168-4AE4-9448-7BF01F4A2724}"/>
              </a:ext>
            </a:extLst>
          </p:cNvPr>
          <p:cNvSpPr/>
          <p:nvPr/>
        </p:nvSpPr>
        <p:spPr>
          <a:xfrm>
            <a:off x="6273463" y="3239765"/>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77">
            <a:extLst>
              <a:ext uri="{FF2B5EF4-FFF2-40B4-BE49-F238E27FC236}">
                <a16:creationId xmlns:a16="http://schemas.microsoft.com/office/drawing/2014/main" xmlns="" id="{BB3391A6-0CE4-46DA-BC63-DC03FCBC58DE}"/>
              </a:ext>
            </a:extLst>
          </p:cNvPr>
          <p:cNvSpPr txBox="1"/>
          <p:nvPr/>
        </p:nvSpPr>
        <p:spPr>
          <a:xfrm>
            <a:off x="5596619" y="5784282"/>
            <a:ext cx="1062599"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Customers</a:t>
            </a:r>
          </a:p>
        </p:txBody>
      </p:sp>
      <p:sp>
        <p:nvSpPr>
          <p:cNvPr id="32" name="Subtitle 2">
            <a:extLst>
              <a:ext uri="{FF2B5EF4-FFF2-40B4-BE49-F238E27FC236}">
                <a16:creationId xmlns:a16="http://schemas.microsoft.com/office/drawing/2014/main" xmlns="" id="{D3182226-A86C-4C45-AE43-43514747DF31}"/>
              </a:ext>
            </a:extLst>
          </p:cNvPr>
          <p:cNvSpPr txBox="1">
            <a:spLocks/>
          </p:cNvSpPr>
          <p:nvPr/>
        </p:nvSpPr>
        <p:spPr>
          <a:xfrm>
            <a:off x="2527376" y="6066886"/>
            <a:ext cx="4079184"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err="1">
                <a:solidFill>
                  <a:schemeClr val="tx1"/>
                </a:solidFill>
                <a:latin typeface="+mj-lt"/>
                <a:ea typeface="Lato Light" panose="020F0502020204030203" pitchFamily="34" charset="0"/>
                <a:cs typeface="Mukta ExtraLight" panose="020B0000000000000000" pitchFamily="34" charset="77"/>
              </a:rPr>
              <a:t>Analyze</a:t>
            </a:r>
            <a:r>
              <a:rPr lang="en-GB" sz="1600" dirty="0">
                <a:solidFill>
                  <a:schemeClr val="tx1"/>
                </a:solidFill>
                <a:latin typeface="+mj-lt"/>
                <a:ea typeface="Lato Light" panose="020F0502020204030203" pitchFamily="34" charset="0"/>
                <a:cs typeface="Mukta ExtraLight" panose="020B0000000000000000" pitchFamily="34" charset="77"/>
              </a:rPr>
              <a:t> if your Customer Relations are stable or – if not – check why they are instable</a:t>
            </a:r>
          </a:p>
        </p:txBody>
      </p:sp>
      <p:sp>
        <p:nvSpPr>
          <p:cNvPr id="33" name="TextBox 85">
            <a:extLst>
              <a:ext uri="{FF2B5EF4-FFF2-40B4-BE49-F238E27FC236}">
                <a16:creationId xmlns:a16="http://schemas.microsoft.com/office/drawing/2014/main" xmlns="" id="{AF55652E-BF80-4906-80CD-420241EFFBDF}"/>
              </a:ext>
            </a:extLst>
          </p:cNvPr>
          <p:cNvSpPr txBox="1"/>
          <p:nvPr/>
        </p:nvSpPr>
        <p:spPr>
          <a:xfrm>
            <a:off x="8440449" y="5111199"/>
            <a:ext cx="1085362"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Motivation</a:t>
            </a:r>
            <a:endParaRPr lang="en-GB" sz="1600" b="1" dirty="0">
              <a:solidFill>
                <a:schemeClr val="tx2"/>
              </a:solidFill>
              <a:latin typeface="+mj-lt"/>
              <a:ea typeface="League Spartan" charset="0"/>
              <a:cs typeface="Poppins" pitchFamily="2" charset="77"/>
            </a:endParaRPr>
          </a:p>
        </p:txBody>
      </p:sp>
      <p:sp>
        <p:nvSpPr>
          <p:cNvPr id="47" name="Subtitle 2">
            <a:extLst>
              <a:ext uri="{FF2B5EF4-FFF2-40B4-BE49-F238E27FC236}">
                <a16:creationId xmlns:a16="http://schemas.microsoft.com/office/drawing/2014/main" xmlns="" id="{AECEEAC5-F301-492B-8EC5-10575E31FB88}"/>
              </a:ext>
            </a:extLst>
          </p:cNvPr>
          <p:cNvSpPr txBox="1">
            <a:spLocks/>
          </p:cNvSpPr>
          <p:nvPr/>
        </p:nvSpPr>
        <p:spPr>
          <a:xfrm>
            <a:off x="8468468" y="5398994"/>
            <a:ext cx="375155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Check if your Motivation System for your Sales Team is right</a:t>
            </a:r>
          </a:p>
        </p:txBody>
      </p:sp>
      <p:sp>
        <p:nvSpPr>
          <p:cNvPr id="48" name="TextBox 79">
            <a:extLst>
              <a:ext uri="{FF2B5EF4-FFF2-40B4-BE49-F238E27FC236}">
                <a16:creationId xmlns:a16="http://schemas.microsoft.com/office/drawing/2014/main" xmlns="" id="{8C58F44C-127B-41D4-8EA0-1F12C3EEBCF0}"/>
              </a:ext>
            </a:extLst>
          </p:cNvPr>
          <p:cNvSpPr txBox="1"/>
          <p:nvPr/>
        </p:nvSpPr>
        <p:spPr>
          <a:xfrm>
            <a:off x="4969187" y="1892068"/>
            <a:ext cx="1157689"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Information</a:t>
            </a:r>
          </a:p>
        </p:txBody>
      </p:sp>
      <p:sp>
        <p:nvSpPr>
          <p:cNvPr id="49" name="Subtitle 2">
            <a:extLst>
              <a:ext uri="{FF2B5EF4-FFF2-40B4-BE49-F238E27FC236}">
                <a16:creationId xmlns:a16="http://schemas.microsoft.com/office/drawing/2014/main" xmlns="" id="{58261CC9-FE84-4A55-97BD-4DC8FD78399D}"/>
              </a:ext>
            </a:extLst>
          </p:cNvPr>
          <p:cNvSpPr txBox="1">
            <a:spLocks/>
          </p:cNvSpPr>
          <p:nvPr/>
        </p:nvSpPr>
        <p:spPr>
          <a:xfrm>
            <a:off x="2655614" y="2159667"/>
            <a:ext cx="3321073"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Gather and </a:t>
            </a:r>
            <a:r>
              <a:rPr lang="en-GB" sz="1600" dirty="0" err="1">
                <a:solidFill>
                  <a:schemeClr val="tx1"/>
                </a:solidFill>
                <a:latin typeface="+mj-lt"/>
                <a:ea typeface="Lato Light" panose="020F0502020204030203" pitchFamily="34" charset="0"/>
                <a:cs typeface="Mukta ExtraLight" panose="020B0000000000000000" pitchFamily="34" charset="77"/>
              </a:rPr>
              <a:t>analyze</a:t>
            </a:r>
            <a:r>
              <a:rPr lang="en-GB" sz="1600" dirty="0">
                <a:solidFill>
                  <a:schemeClr val="tx1"/>
                </a:solidFill>
                <a:latin typeface="+mj-lt"/>
                <a:ea typeface="Lato Light" panose="020F0502020204030203" pitchFamily="34" charset="0"/>
                <a:cs typeface="Mukta ExtraLight" panose="020B0000000000000000" pitchFamily="34" charset="77"/>
              </a:rPr>
              <a:t> all information from your Marketing and Sales</a:t>
            </a:r>
          </a:p>
        </p:txBody>
      </p:sp>
      <p:sp>
        <p:nvSpPr>
          <p:cNvPr id="51" name="TextBox 87">
            <a:extLst>
              <a:ext uri="{FF2B5EF4-FFF2-40B4-BE49-F238E27FC236}">
                <a16:creationId xmlns:a16="http://schemas.microsoft.com/office/drawing/2014/main" xmlns="" id="{47EBE585-CA3F-48DE-9A86-B30384E17B77}"/>
              </a:ext>
            </a:extLst>
          </p:cNvPr>
          <p:cNvSpPr txBox="1"/>
          <p:nvPr/>
        </p:nvSpPr>
        <p:spPr>
          <a:xfrm>
            <a:off x="8440449" y="1961582"/>
            <a:ext cx="577402"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CRM</a:t>
            </a:r>
            <a:endParaRPr lang="en-GB" sz="1600" b="1" dirty="0">
              <a:solidFill>
                <a:schemeClr val="tx2"/>
              </a:solidFill>
              <a:latin typeface="+mj-lt"/>
              <a:ea typeface="League Spartan" charset="0"/>
              <a:cs typeface="Poppins" pitchFamily="2" charset="77"/>
            </a:endParaRPr>
          </a:p>
        </p:txBody>
      </p:sp>
      <p:sp>
        <p:nvSpPr>
          <p:cNvPr id="52" name="Subtitle 2">
            <a:extLst>
              <a:ext uri="{FF2B5EF4-FFF2-40B4-BE49-F238E27FC236}">
                <a16:creationId xmlns:a16="http://schemas.microsoft.com/office/drawing/2014/main" xmlns="" id="{89D57022-679B-4654-A934-77F162EDB5AD}"/>
              </a:ext>
            </a:extLst>
          </p:cNvPr>
          <p:cNvSpPr txBox="1">
            <a:spLocks/>
          </p:cNvSpPr>
          <p:nvPr/>
        </p:nvSpPr>
        <p:spPr>
          <a:xfrm>
            <a:off x="8440447" y="2337289"/>
            <a:ext cx="3128623"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Implement a CRM system if you don’t have one</a:t>
            </a:r>
          </a:p>
        </p:txBody>
      </p:sp>
      <p:sp>
        <p:nvSpPr>
          <p:cNvPr id="53" name="TextBox 81">
            <a:extLst>
              <a:ext uri="{FF2B5EF4-FFF2-40B4-BE49-F238E27FC236}">
                <a16:creationId xmlns:a16="http://schemas.microsoft.com/office/drawing/2014/main" xmlns="" id="{D0CCABA2-3988-4478-BFDB-D8053331DE5E}"/>
              </a:ext>
            </a:extLst>
          </p:cNvPr>
          <p:cNvSpPr txBox="1"/>
          <p:nvPr/>
        </p:nvSpPr>
        <p:spPr>
          <a:xfrm>
            <a:off x="3320424" y="4598636"/>
            <a:ext cx="1951881"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Short Term Sales Plan</a:t>
            </a:r>
          </a:p>
        </p:txBody>
      </p:sp>
      <p:sp>
        <p:nvSpPr>
          <p:cNvPr id="54" name="Subtitle 2">
            <a:extLst>
              <a:ext uri="{FF2B5EF4-FFF2-40B4-BE49-F238E27FC236}">
                <a16:creationId xmlns:a16="http://schemas.microsoft.com/office/drawing/2014/main" xmlns="" id="{05BBC4BB-1E04-4460-870C-A88CB6646529}"/>
              </a:ext>
            </a:extLst>
          </p:cNvPr>
          <p:cNvSpPr txBox="1">
            <a:spLocks/>
          </p:cNvSpPr>
          <p:nvPr/>
        </p:nvSpPr>
        <p:spPr>
          <a:xfrm>
            <a:off x="2527375" y="4890205"/>
            <a:ext cx="2842453" cy="10195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Develop a short-term sales plan and focus on High Margin Products, phase-out products and products with high stocks </a:t>
            </a:r>
          </a:p>
        </p:txBody>
      </p:sp>
      <p:sp>
        <p:nvSpPr>
          <p:cNvPr id="55" name="TextBox 89">
            <a:extLst>
              <a:ext uri="{FF2B5EF4-FFF2-40B4-BE49-F238E27FC236}">
                <a16:creationId xmlns:a16="http://schemas.microsoft.com/office/drawing/2014/main" xmlns="" id="{27EB0714-4A05-4D11-9ED9-7A9281428A20}"/>
              </a:ext>
            </a:extLst>
          </p:cNvPr>
          <p:cNvSpPr txBox="1"/>
          <p:nvPr/>
        </p:nvSpPr>
        <p:spPr>
          <a:xfrm>
            <a:off x="8852409" y="4120569"/>
            <a:ext cx="1087542"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Controlling</a:t>
            </a:r>
          </a:p>
        </p:txBody>
      </p:sp>
      <p:sp>
        <p:nvSpPr>
          <p:cNvPr id="56" name="Subtitle 2">
            <a:extLst>
              <a:ext uri="{FF2B5EF4-FFF2-40B4-BE49-F238E27FC236}">
                <a16:creationId xmlns:a16="http://schemas.microsoft.com/office/drawing/2014/main" xmlns="" id="{0220A0EC-A3A1-41E0-9EE8-6F8628EB08D3}"/>
              </a:ext>
            </a:extLst>
          </p:cNvPr>
          <p:cNvSpPr txBox="1">
            <a:spLocks/>
          </p:cNvSpPr>
          <p:nvPr/>
        </p:nvSpPr>
        <p:spPr>
          <a:xfrm>
            <a:off x="8950401" y="4410115"/>
            <a:ext cx="3590298"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Implement  Marketing and Sales Controlling</a:t>
            </a:r>
          </a:p>
        </p:txBody>
      </p:sp>
      <p:sp>
        <p:nvSpPr>
          <p:cNvPr id="58" name="TextBox 83">
            <a:extLst>
              <a:ext uri="{FF2B5EF4-FFF2-40B4-BE49-F238E27FC236}">
                <a16:creationId xmlns:a16="http://schemas.microsoft.com/office/drawing/2014/main" xmlns="" id="{05556B01-6051-4402-AED7-C5CA00BE8B6C}"/>
              </a:ext>
            </a:extLst>
          </p:cNvPr>
          <p:cNvSpPr txBox="1"/>
          <p:nvPr/>
        </p:nvSpPr>
        <p:spPr>
          <a:xfrm>
            <a:off x="2808630" y="3147739"/>
            <a:ext cx="2341109" cy="584775"/>
          </a:xfrm>
          <a:prstGeom prst="rect">
            <a:avLst/>
          </a:prstGeom>
          <a:noFill/>
        </p:spPr>
        <p:txBody>
          <a:bodyPr wrap="square" lIns="91440" tIns="45720" rIns="91440" bIns="45720" rtlCol="0" anchor="b" anchorCtr="0">
            <a:spAutoFit/>
          </a:bodyPr>
          <a:lstStyle/>
          <a:p>
            <a:pPr algn="r"/>
            <a:r>
              <a:rPr lang="en-GB" sz="1600" b="1" dirty="0">
                <a:solidFill>
                  <a:schemeClr val="tx2"/>
                </a:solidFill>
                <a:latin typeface="+mj-lt"/>
                <a:ea typeface="League Spartan" charset="0"/>
                <a:cs typeface="Poppins" pitchFamily="2" charset="77"/>
              </a:rPr>
              <a:t>Market view and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long-term Plan</a:t>
            </a:r>
          </a:p>
        </p:txBody>
      </p:sp>
      <p:sp>
        <p:nvSpPr>
          <p:cNvPr id="59" name="Subtitle 2">
            <a:extLst>
              <a:ext uri="{FF2B5EF4-FFF2-40B4-BE49-F238E27FC236}">
                <a16:creationId xmlns:a16="http://schemas.microsoft.com/office/drawing/2014/main" xmlns="" id="{6F13B00C-F0FA-46B1-9A1E-F4C15FBAAB84}"/>
              </a:ext>
            </a:extLst>
          </p:cNvPr>
          <p:cNvSpPr txBox="1">
            <a:spLocks/>
          </p:cNvSpPr>
          <p:nvPr/>
        </p:nvSpPr>
        <p:spPr>
          <a:xfrm>
            <a:off x="2515227" y="3657919"/>
            <a:ext cx="2669867"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Execute a market analysis and develop a long-term plan</a:t>
            </a:r>
          </a:p>
        </p:txBody>
      </p:sp>
      <p:sp>
        <p:nvSpPr>
          <p:cNvPr id="60" name="TextBox 91">
            <a:extLst>
              <a:ext uri="{FF2B5EF4-FFF2-40B4-BE49-F238E27FC236}">
                <a16:creationId xmlns:a16="http://schemas.microsoft.com/office/drawing/2014/main" xmlns="" id="{3DDC76B6-B4A4-4499-9135-5BDE62473681}"/>
              </a:ext>
            </a:extLst>
          </p:cNvPr>
          <p:cNvSpPr txBox="1"/>
          <p:nvPr/>
        </p:nvSpPr>
        <p:spPr>
          <a:xfrm>
            <a:off x="8950401" y="3131165"/>
            <a:ext cx="1375698"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Marketing Mix</a:t>
            </a:r>
            <a:endParaRPr lang="en-GB" sz="1600" b="1" dirty="0">
              <a:solidFill>
                <a:schemeClr val="tx2"/>
              </a:solidFill>
              <a:latin typeface="+mj-lt"/>
              <a:ea typeface="League Spartan" charset="0"/>
              <a:cs typeface="Poppins" pitchFamily="2" charset="77"/>
            </a:endParaRPr>
          </a:p>
        </p:txBody>
      </p:sp>
      <p:sp>
        <p:nvSpPr>
          <p:cNvPr id="61" name="Subtitle 2">
            <a:extLst>
              <a:ext uri="{FF2B5EF4-FFF2-40B4-BE49-F238E27FC236}">
                <a16:creationId xmlns:a16="http://schemas.microsoft.com/office/drawing/2014/main" xmlns="" id="{D1DCE71F-8712-4E81-8EDB-9CF5ED34B335}"/>
              </a:ext>
            </a:extLst>
          </p:cNvPr>
          <p:cNvSpPr txBox="1">
            <a:spLocks/>
          </p:cNvSpPr>
          <p:nvPr/>
        </p:nvSpPr>
        <p:spPr>
          <a:xfrm>
            <a:off x="9008739" y="3408340"/>
            <a:ext cx="3075701"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err="1">
                <a:solidFill>
                  <a:schemeClr val="tx1"/>
                </a:solidFill>
                <a:latin typeface="+mj-lt"/>
                <a:ea typeface="Lato Light" panose="020F0502020204030203" pitchFamily="34" charset="0"/>
                <a:cs typeface="Mukta ExtraLight" panose="020B0000000000000000" pitchFamily="34" charset="77"/>
              </a:rPr>
              <a:t>Analyze</a:t>
            </a:r>
            <a:r>
              <a:rPr lang="en-GB" sz="1600" dirty="0">
                <a:solidFill>
                  <a:schemeClr val="tx1"/>
                </a:solidFill>
                <a:latin typeface="+mj-lt"/>
                <a:ea typeface="Lato Light" panose="020F0502020204030203" pitchFamily="34" charset="0"/>
                <a:cs typeface="Mukta ExtraLight" panose="020B0000000000000000" pitchFamily="34" charset="77"/>
              </a:rPr>
              <a:t> your Marketing Mix for new opportunities</a:t>
            </a:r>
          </a:p>
        </p:txBody>
      </p:sp>
      <p:sp>
        <p:nvSpPr>
          <p:cNvPr id="62" name="TextBox 38">
            <a:extLst>
              <a:ext uri="{FF2B5EF4-FFF2-40B4-BE49-F238E27FC236}">
                <a16:creationId xmlns:a16="http://schemas.microsoft.com/office/drawing/2014/main" xmlns="" id="{61CFDF05-6B57-4B13-8D8A-CFC115D9461D}"/>
              </a:ext>
            </a:extLst>
          </p:cNvPr>
          <p:cNvSpPr txBox="1"/>
          <p:nvPr/>
        </p:nvSpPr>
        <p:spPr>
          <a:xfrm>
            <a:off x="6306637" y="3594441"/>
            <a:ext cx="1459259" cy="1015663"/>
          </a:xfrm>
          <a:prstGeom prst="rect">
            <a:avLst/>
          </a:prstGeom>
          <a:noFill/>
        </p:spPr>
        <p:txBody>
          <a:bodyPr wrap="square" rtlCol="0" anchor="ctr" anchorCtr="0">
            <a:spAutoFit/>
          </a:bodyPr>
          <a:lstStyle/>
          <a:p>
            <a:pPr algn="ctr"/>
            <a:r>
              <a:rPr lang="en-GB" sz="2000" b="1" dirty="0">
                <a:solidFill>
                  <a:srgbClr val="F95C2C"/>
                </a:solidFill>
                <a:latin typeface="+mj-lt"/>
                <a:ea typeface="League Spartan" charset="0"/>
                <a:cs typeface="Poppins" pitchFamily="2" charset="77"/>
              </a:rPr>
              <a:t>Marketing </a:t>
            </a:r>
          </a:p>
          <a:p>
            <a:pPr algn="ctr"/>
            <a:r>
              <a:rPr lang="en-GB" sz="2000" b="1" dirty="0">
                <a:solidFill>
                  <a:srgbClr val="F95C2C"/>
                </a:solidFill>
                <a:latin typeface="+mj-lt"/>
                <a:ea typeface="League Spartan" charset="0"/>
                <a:cs typeface="Poppins" pitchFamily="2" charset="77"/>
              </a:rPr>
              <a:t>and</a:t>
            </a:r>
            <a:br>
              <a:rPr lang="en-GB" sz="2000" b="1" dirty="0">
                <a:solidFill>
                  <a:srgbClr val="F95C2C"/>
                </a:solidFill>
                <a:latin typeface="+mj-lt"/>
                <a:ea typeface="League Spartan" charset="0"/>
                <a:cs typeface="Poppins" pitchFamily="2" charset="77"/>
              </a:rPr>
            </a:br>
            <a:r>
              <a:rPr lang="en-GB" sz="2000" b="1" dirty="0">
                <a:solidFill>
                  <a:srgbClr val="F95C2C"/>
                </a:solidFill>
                <a:latin typeface="+mj-lt"/>
                <a:ea typeface="League Spartan" charset="0"/>
                <a:cs typeface="Poppins" pitchFamily="2" charset="77"/>
              </a:rPr>
              <a:t>Sales</a:t>
            </a:r>
          </a:p>
        </p:txBody>
      </p:sp>
    </p:spTree>
    <p:extLst>
      <p:ext uri="{BB962C8B-B14F-4D97-AF65-F5344CB8AC3E}">
        <p14:creationId xmlns:p14="http://schemas.microsoft.com/office/powerpoint/2010/main" val="34914759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83BD508-728B-4C8B-9785-A9E72963752E}"/>
              </a:ext>
            </a:extLst>
          </p:cNvPr>
          <p:cNvSpPr>
            <a:spLocks noGrp="1"/>
          </p:cNvSpPr>
          <p:nvPr>
            <p:ph type="body" sz="quarter" idx="11"/>
          </p:nvPr>
        </p:nvSpPr>
        <p:spPr>
          <a:xfrm>
            <a:off x="461755" y="3274356"/>
            <a:ext cx="9821959" cy="1582271"/>
          </a:xfrm>
        </p:spPr>
        <p:txBody>
          <a:bodyPr/>
          <a:lstStyle/>
          <a:p>
            <a:r>
              <a:rPr lang="en-GB" dirty="0"/>
              <a:t>Overcoming Crisis Strategy</a:t>
            </a:r>
          </a:p>
          <a:p>
            <a:endParaRPr lang="en-GB" dirty="0"/>
          </a:p>
        </p:txBody>
      </p:sp>
    </p:spTree>
    <p:extLst>
      <p:ext uri="{BB962C8B-B14F-4D97-AF65-F5344CB8AC3E}">
        <p14:creationId xmlns:p14="http://schemas.microsoft.com/office/powerpoint/2010/main" val="40997337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2811" y="433045"/>
            <a:ext cx="8852375" cy="697353"/>
          </a:xfrm>
        </p:spPr>
        <p:txBody>
          <a:bodyPr>
            <a:normAutofit/>
          </a:bodyPr>
          <a:lstStyle/>
          <a:p>
            <a:r>
              <a:rPr lang="en-GB" dirty="0"/>
              <a:t>Overcoming Crisis Strategy</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07859" y="2019524"/>
            <a:ext cx="4079197" cy="451435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The strategic realignment is based on the mission statement of a profitable and competitive company. </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n order to assess whether the restructuring objective has been achieved, the criteria to be applied are not only the positive liquidity and success prospects derived from the integrated restructuring plan. </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The goal in overcoming the strategic crisis is to achieve a sustainable competitiveness and competitive advantages</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23" name="Freeform 43">
            <a:extLst>
              <a:ext uri="{FF2B5EF4-FFF2-40B4-BE49-F238E27FC236}">
                <a16:creationId xmlns:a16="http://schemas.microsoft.com/office/drawing/2014/main" xmlns="" id="{38CEBAD3-01EC-4FB8-8E56-4B6620A121BF}"/>
              </a:ext>
            </a:extLst>
          </p:cNvPr>
          <p:cNvSpPr>
            <a:spLocks/>
          </p:cNvSpPr>
          <p:nvPr/>
        </p:nvSpPr>
        <p:spPr bwMode="auto">
          <a:xfrm>
            <a:off x="4914773" y="3943668"/>
            <a:ext cx="7152809" cy="144984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24" name="Freeform 36">
            <a:extLst>
              <a:ext uri="{FF2B5EF4-FFF2-40B4-BE49-F238E27FC236}">
                <a16:creationId xmlns:a16="http://schemas.microsoft.com/office/drawing/2014/main" xmlns="" id="{06CFC4F6-74A8-4DFE-8F0F-7FCD4D96999A}"/>
              </a:ext>
            </a:extLst>
          </p:cNvPr>
          <p:cNvSpPr>
            <a:spLocks/>
          </p:cNvSpPr>
          <p:nvPr/>
        </p:nvSpPr>
        <p:spPr bwMode="auto">
          <a:xfrm>
            <a:off x="4294051" y="3943668"/>
            <a:ext cx="1494192"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Roboto Bold" charset="0"/>
            </a:endParaRPr>
          </a:p>
        </p:txBody>
      </p:sp>
      <p:sp>
        <p:nvSpPr>
          <p:cNvPr id="25" name="Freeform 37">
            <a:extLst>
              <a:ext uri="{FF2B5EF4-FFF2-40B4-BE49-F238E27FC236}">
                <a16:creationId xmlns:a16="http://schemas.microsoft.com/office/drawing/2014/main" xmlns="" id="{B0FD7098-F76C-477A-B6DD-A166CAFF8710}"/>
              </a:ext>
            </a:extLst>
          </p:cNvPr>
          <p:cNvSpPr>
            <a:spLocks/>
          </p:cNvSpPr>
          <p:nvPr/>
        </p:nvSpPr>
        <p:spPr bwMode="auto">
          <a:xfrm>
            <a:off x="3893443" y="3551782"/>
            <a:ext cx="2599455"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27" name="Rectangle 48">
            <a:extLst>
              <a:ext uri="{FF2B5EF4-FFF2-40B4-BE49-F238E27FC236}">
                <a16:creationId xmlns:a16="http://schemas.microsoft.com/office/drawing/2014/main" xmlns="" id="{914D4433-7180-4DE8-9A0F-6C91DC9382F9}"/>
              </a:ext>
            </a:extLst>
          </p:cNvPr>
          <p:cNvSpPr>
            <a:spLocks/>
          </p:cNvSpPr>
          <p:nvPr/>
        </p:nvSpPr>
        <p:spPr bwMode="auto">
          <a:xfrm>
            <a:off x="4187056" y="3908859"/>
            <a:ext cx="9697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200" b="1" spc="113" dirty="0">
                <a:solidFill>
                  <a:schemeClr val="bg1"/>
                </a:solidFill>
                <a:latin typeface="+mj-lt"/>
                <a:ea typeface="Roboto" charset="0"/>
                <a:cs typeface="Roboto" charset="0"/>
                <a:sym typeface="Bebas Neue" charset="0"/>
              </a:rPr>
              <a:t>02</a:t>
            </a:r>
          </a:p>
        </p:txBody>
      </p:sp>
      <p:sp>
        <p:nvSpPr>
          <p:cNvPr id="28" name="TextBox 49">
            <a:extLst>
              <a:ext uri="{FF2B5EF4-FFF2-40B4-BE49-F238E27FC236}">
                <a16:creationId xmlns:a16="http://schemas.microsoft.com/office/drawing/2014/main" xmlns="" id="{503844B9-581D-43F8-AB66-B6B4644929CE}"/>
              </a:ext>
            </a:extLst>
          </p:cNvPr>
          <p:cNvSpPr txBox="1"/>
          <p:nvPr/>
        </p:nvSpPr>
        <p:spPr>
          <a:xfrm>
            <a:off x="5678710" y="3983287"/>
            <a:ext cx="6222638" cy="1477328"/>
          </a:xfrm>
          <a:prstGeom prst="rect">
            <a:avLst/>
          </a:prstGeom>
          <a:noFill/>
        </p:spPr>
        <p:txBody>
          <a:bodyPr wrap="square" rtlCol="0">
            <a:spAutoFit/>
          </a:bodyPr>
          <a:lstStyle/>
          <a:p>
            <a:r>
              <a:rPr lang="en-GB" dirty="0">
                <a:solidFill>
                  <a:schemeClr val="bg1"/>
                </a:solidFill>
                <a:latin typeface="+mj-lt"/>
                <a:ea typeface="Lato Light" charset="0"/>
                <a:cs typeface="Lato Light" charset="0"/>
              </a:rPr>
              <a:t>Therefore, the development of </a:t>
            </a:r>
            <a:r>
              <a:rPr lang="en-GB" b="1" dirty="0">
                <a:solidFill>
                  <a:schemeClr val="bg1"/>
                </a:solidFill>
                <a:latin typeface="+mj-lt"/>
                <a:ea typeface="Lato Light" charset="0"/>
                <a:cs typeface="Lato Light" charset="0"/>
              </a:rPr>
              <a:t>suitable product-market strategies </a:t>
            </a:r>
            <a:r>
              <a:rPr lang="en-GB" dirty="0">
                <a:solidFill>
                  <a:schemeClr val="bg1"/>
                </a:solidFill>
                <a:latin typeface="+mj-lt"/>
                <a:ea typeface="Lato Light" charset="0"/>
                <a:cs typeface="Lato Light" charset="0"/>
              </a:rPr>
              <a:t>and </a:t>
            </a:r>
            <a:r>
              <a:rPr lang="en-GB" b="1" dirty="0">
                <a:solidFill>
                  <a:schemeClr val="bg1"/>
                </a:solidFill>
                <a:latin typeface="+mj-lt"/>
                <a:ea typeface="Lato Light" charset="0"/>
                <a:cs typeface="Lato Light" charset="0"/>
              </a:rPr>
              <a:t>resource strategies</a:t>
            </a:r>
            <a:r>
              <a:rPr lang="en-GB" dirty="0">
                <a:solidFill>
                  <a:schemeClr val="bg1"/>
                </a:solidFill>
                <a:latin typeface="+mj-lt"/>
                <a:ea typeface="Lato Light" charset="0"/>
                <a:cs typeface="Lato Light" charset="0"/>
              </a:rPr>
              <a:t>, which are implemented independently or through alliances with competitors or through mergers or acquisitions, is crucial in order to achieve a sustainable profitable company development</a:t>
            </a:r>
          </a:p>
        </p:txBody>
      </p:sp>
      <p:sp>
        <p:nvSpPr>
          <p:cNvPr id="29" name="Freeform 43">
            <a:extLst>
              <a:ext uri="{FF2B5EF4-FFF2-40B4-BE49-F238E27FC236}">
                <a16:creationId xmlns:a16="http://schemas.microsoft.com/office/drawing/2014/main" xmlns="" id="{0B443420-F081-4BC0-A70C-B3CC8F948189}"/>
              </a:ext>
            </a:extLst>
          </p:cNvPr>
          <p:cNvSpPr>
            <a:spLocks/>
          </p:cNvSpPr>
          <p:nvPr/>
        </p:nvSpPr>
        <p:spPr bwMode="auto">
          <a:xfrm>
            <a:off x="4914773" y="5389011"/>
            <a:ext cx="7152809" cy="123505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0" name="Freeform 36">
            <a:extLst>
              <a:ext uri="{FF2B5EF4-FFF2-40B4-BE49-F238E27FC236}">
                <a16:creationId xmlns:a16="http://schemas.microsoft.com/office/drawing/2014/main" xmlns="" id="{3FD3AE5A-1BE1-4E29-8F6D-90DE7E837AE0}"/>
              </a:ext>
            </a:extLst>
          </p:cNvPr>
          <p:cNvSpPr>
            <a:spLocks/>
          </p:cNvSpPr>
          <p:nvPr/>
        </p:nvSpPr>
        <p:spPr bwMode="auto">
          <a:xfrm>
            <a:off x="4294050" y="5389011"/>
            <a:ext cx="1494193" cy="123505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Roboto Bold" charset="0"/>
            </a:endParaRPr>
          </a:p>
        </p:txBody>
      </p:sp>
      <p:sp>
        <p:nvSpPr>
          <p:cNvPr id="31" name="Freeform 37">
            <a:extLst>
              <a:ext uri="{FF2B5EF4-FFF2-40B4-BE49-F238E27FC236}">
                <a16:creationId xmlns:a16="http://schemas.microsoft.com/office/drawing/2014/main" xmlns="" id="{9A2A44DC-0DB5-4668-B47A-C8688596BCBD}"/>
              </a:ext>
            </a:extLst>
          </p:cNvPr>
          <p:cNvSpPr>
            <a:spLocks/>
          </p:cNvSpPr>
          <p:nvPr/>
        </p:nvSpPr>
        <p:spPr bwMode="auto">
          <a:xfrm>
            <a:off x="3893443" y="4782334"/>
            <a:ext cx="2599455"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3" name="Rectangle 59">
            <a:extLst>
              <a:ext uri="{FF2B5EF4-FFF2-40B4-BE49-F238E27FC236}">
                <a16:creationId xmlns:a16="http://schemas.microsoft.com/office/drawing/2014/main" xmlns="" id="{4A26CA74-E445-4E0B-B9FE-840C8E8A4F43}"/>
              </a:ext>
            </a:extLst>
          </p:cNvPr>
          <p:cNvSpPr>
            <a:spLocks/>
          </p:cNvSpPr>
          <p:nvPr/>
        </p:nvSpPr>
        <p:spPr bwMode="auto">
          <a:xfrm>
            <a:off x="4187056" y="5139410"/>
            <a:ext cx="9697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200" b="1" spc="113" dirty="0">
                <a:solidFill>
                  <a:schemeClr val="bg1"/>
                </a:solidFill>
                <a:latin typeface="+mj-lt"/>
                <a:ea typeface="Roboto" charset="0"/>
                <a:cs typeface="Roboto" charset="0"/>
                <a:sym typeface="Bebas Neue" charset="0"/>
              </a:rPr>
              <a:t>03</a:t>
            </a:r>
          </a:p>
        </p:txBody>
      </p:sp>
      <p:sp>
        <p:nvSpPr>
          <p:cNvPr id="34" name="TextBox 80">
            <a:extLst>
              <a:ext uri="{FF2B5EF4-FFF2-40B4-BE49-F238E27FC236}">
                <a16:creationId xmlns:a16="http://schemas.microsoft.com/office/drawing/2014/main" xmlns="" id="{22AB0BEC-29BD-4F64-B782-0187ABB23EC3}"/>
              </a:ext>
            </a:extLst>
          </p:cNvPr>
          <p:cNvSpPr txBox="1"/>
          <p:nvPr/>
        </p:nvSpPr>
        <p:spPr>
          <a:xfrm>
            <a:off x="5750307" y="5573830"/>
            <a:ext cx="6222638" cy="746358"/>
          </a:xfrm>
          <a:prstGeom prst="rect">
            <a:avLst/>
          </a:prstGeom>
          <a:noFill/>
        </p:spPr>
        <p:txBody>
          <a:bodyPr wrap="square" rtlCol="0">
            <a:spAutoFit/>
          </a:bodyPr>
          <a:lstStyle/>
          <a:p>
            <a:pPr>
              <a:lnSpc>
                <a:spcPts val="1665"/>
              </a:lnSpc>
            </a:pPr>
            <a:r>
              <a:rPr lang="en-GB" dirty="0">
                <a:solidFill>
                  <a:schemeClr val="bg1"/>
                </a:solidFill>
                <a:latin typeface="+mj-lt"/>
                <a:ea typeface="Lato Light" charset="0"/>
                <a:cs typeface="Lato Light" charset="0"/>
              </a:rPr>
              <a:t>Ultimately, however, it is always the customer perception and the </a:t>
            </a:r>
            <a:r>
              <a:rPr lang="en-GB" b="1" dirty="0">
                <a:solidFill>
                  <a:schemeClr val="bg1"/>
                </a:solidFill>
                <a:latin typeface="+mj-lt"/>
                <a:ea typeface="Lato Light" charset="0"/>
                <a:cs typeface="Lato Light" charset="0"/>
              </a:rPr>
              <a:t>customer view</a:t>
            </a:r>
            <a:r>
              <a:rPr lang="en-GB" dirty="0">
                <a:solidFill>
                  <a:schemeClr val="bg1"/>
                </a:solidFill>
                <a:latin typeface="+mj-lt"/>
                <a:ea typeface="Lato Light" charset="0"/>
                <a:cs typeface="Lato Light" charset="0"/>
              </a:rPr>
              <a:t> decisive for the market success and thus the </a:t>
            </a:r>
            <a:r>
              <a:rPr lang="en-GB" b="1" dirty="0">
                <a:solidFill>
                  <a:schemeClr val="bg1"/>
                </a:solidFill>
                <a:latin typeface="+mj-lt"/>
                <a:ea typeface="Lato Light" charset="0"/>
                <a:cs typeface="Lato Light" charset="0"/>
              </a:rPr>
              <a:t>competitiveness</a:t>
            </a:r>
            <a:r>
              <a:rPr lang="en-GB" dirty="0">
                <a:solidFill>
                  <a:schemeClr val="bg1"/>
                </a:solidFill>
                <a:latin typeface="+mj-lt"/>
                <a:ea typeface="Lato Light" charset="0"/>
                <a:cs typeface="Lato Light" charset="0"/>
              </a:rPr>
              <a:t> of the company</a:t>
            </a:r>
          </a:p>
        </p:txBody>
      </p:sp>
      <p:sp>
        <p:nvSpPr>
          <p:cNvPr id="35" name="Freeform 43">
            <a:extLst>
              <a:ext uri="{FF2B5EF4-FFF2-40B4-BE49-F238E27FC236}">
                <a16:creationId xmlns:a16="http://schemas.microsoft.com/office/drawing/2014/main" xmlns="" id="{1AE2E2D8-7FFA-4C5F-BCB6-396B14434D86}"/>
              </a:ext>
            </a:extLst>
          </p:cNvPr>
          <p:cNvSpPr>
            <a:spLocks/>
          </p:cNvSpPr>
          <p:nvPr/>
        </p:nvSpPr>
        <p:spPr bwMode="auto">
          <a:xfrm>
            <a:off x="4914773" y="2717879"/>
            <a:ext cx="7152809" cy="133577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6" name="Freeform 36">
            <a:extLst>
              <a:ext uri="{FF2B5EF4-FFF2-40B4-BE49-F238E27FC236}">
                <a16:creationId xmlns:a16="http://schemas.microsoft.com/office/drawing/2014/main" xmlns="" id="{11CD41B8-E7A0-4BC7-889B-A2AEA92A3D10}"/>
              </a:ext>
            </a:extLst>
          </p:cNvPr>
          <p:cNvSpPr>
            <a:spLocks/>
          </p:cNvSpPr>
          <p:nvPr/>
        </p:nvSpPr>
        <p:spPr bwMode="auto">
          <a:xfrm>
            <a:off x="4294052" y="2717879"/>
            <a:ext cx="1550445" cy="131176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Roboto Bold" charset="0"/>
            </a:endParaRPr>
          </a:p>
        </p:txBody>
      </p:sp>
      <p:sp>
        <p:nvSpPr>
          <p:cNvPr id="37" name="Freeform 37">
            <a:extLst>
              <a:ext uri="{FF2B5EF4-FFF2-40B4-BE49-F238E27FC236}">
                <a16:creationId xmlns:a16="http://schemas.microsoft.com/office/drawing/2014/main" xmlns="" id="{6C69C51B-A138-4ECD-B041-3B9DF3EB887E}"/>
              </a:ext>
            </a:extLst>
          </p:cNvPr>
          <p:cNvSpPr>
            <a:spLocks/>
          </p:cNvSpPr>
          <p:nvPr/>
        </p:nvSpPr>
        <p:spPr bwMode="auto">
          <a:xfrm>
            <a:off x="4159375" y="2306458"/>
            <a:ext cx="2333523"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9" name="Rectangle 85">
            <a:extLst>
              <a:ext uri="{FF2B5EF4-FFF2-40B4-BE49-F238E27FC236}">
                <a16:creationId xmlns:a16="http://schemas.microsoft.com/office/drawing/2014/main" xmlns="" id="{2A1552D3-2090-4A15-BD98-8D3B0C1215D9}"/>
              </a:ext>
            </a:extLst>
          </p:cNvPr>
          <p:cNvSpPr>
            <a:spLocks/>
          </p:cNvSpPr>
          <p:nvPr/>
        </p:nvSpPr>
        <p:spPr bwMode="auto">
          <a:xfrm>
            <a:off x="4187056" y="2663535"/>
            <a:ext cx="9697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200" b="1" spc="113" dirty="0">
                <a:solidFill>
                  <a:schemeClr val="bg1"/>
                </a:solidFill>
                <a:latin typeface="+mj-lt"/>
                <a:ea typeface="Roboto" charset="0"/>
                <a:cs typeface="Roboto" charset="0"/>
                <a:sym typeface="Bebas Neue" charset="0"/>
              </a:rPr>
              <a:t>01</a:t>
            </a:r>
            <a:endParaRPr lang="en-GB" sz="1600" b="1" spc="113" dirty="0">
              <a:solidFill>
                <a:schemeClr val="bg1"/>
              </a:solidFill>
              <a:latin typeface="+mj-lt"/>
              <a:ea typeface="Roboto" charset="0"/>
              <a:cs typeface="Roboto" charset="0"/>
              <a:sym typeface="Bebas Neue" charset="0"/>
            </a:endParaRPr>
          </a:p>
        </p:txBody>
      </p:sp>
      <p:sp>
        <p:nvSpPr>
          <p:cNvPr id="40" name="TextBox 86">
            <a:extLst>
              <a:ext uri="{FF2B5EF4-FFF2-40B4-BE49-F238E27FC236}">
                <a16:creationId xmlns:a16="http://schemas.microsoft.com/office/drawing/2014/main" xmlns="" id="{27A142E1-D7BF-483C-98D0-BCD3911C3078}"/>
              </a:ext>
            </a:extLst>
          </p:cNvPr>
          <p:cNvSpPr txBox="1"/>
          <p:nvPr/>
        </p:nvSpPr>
        <p:spPr>
          <a:xfrm>
            <a:off x="5754388" y="2919548"/>
            <a:ext cx="6250438" cy="923330"/>
          </a:xfrm>
          <a:prstGeom prst="rect">
            <a:avLst/>
          </a:prstGeom>
          <a:noFill/>
        </p:spPr>
        <p:txBody>
          <a:bodyPr wrap="square" rtlCol="0">
            <a:spAutoFit/>
          </a:bodyPr>
          <a:lstStyle/>
          <a:p>
            <a:r>
              <a:rPr lang="en-GB" dirty="0">
                <a:solidFill>
                  <a:schemeClr val="bg1"/>
                </a:solidFill>
                <a:latin typeface="+mj-lt"/>
                <a:ea typeface="Lato Light" charset="0"/>
                <a:cs typeface="Lato Light" charset="0"/>
              </a:rPr>
              <a:t>The company must </a:t>
            </a:r>
            <a:r>
              <a:rPr lang="en-GB" b="1" dirty="0">
                <a:solidFill>
                  <a:schemeClr val="bg1"/>
                </a:solidFill>
                <a:latin typeface="+mj-lt"/>
                <a:ea typeface="Lato Light" charset="0"/>
                <a:cs typeface="Lato Light" charset="0"/>
              </a:rPr>
              <a:t>coordinate its market activities and resources optimally and stringently</a:t>
            </a:r>
            <a:r>
              <a:rPr lang="en-GB" dirty="0">
                <a:solidFill>
                  <a:schemeClr val="bg1"/>
                </a:solidFill>
                <a:latin typeface="+mj-lt"/>
                <a:ea typeface="Lato Light" charset="0"/>
                <a:cs typeface="Lato Light" charset="0"/>
              </a:rPr>
              <a:t>, taking into account </a:t>
            </a:r>
            <a:r>
              <a:rPr lang="en-GB" b="1" dirty="0">
                <a:solidFill>
                  <a:schemeClr val="bg1"/>
                </a:solidFill>
                <a:latin typeface="+mj-lt"/>
                <a:ea typeface="Lato Light" charset="0"/>
                <a:cs typeface="Lato Light" charset="0"/>
              </a:rPr>
              <a:t>customer requirements </a:t>
            </a:r>
            <a:r>
              <a:rPr lang="en-GB" dirty="0">
                <a:solidFill>
                  <a:schemeClr val="bg1"/>
                </a:solidFill>
                <a:latin typeface="+mj-lt"/>
                <a:ea typeface="Lato Light" charset="0"/>
                <a:cs typeface="Lato Light" charset="0"/>
              </a:rPr>
              <a:t>and the </a:t>
            </a:r>
            <a:r>
              <a:rPr lang="en-GB" b="1" dirty="0">
                <a:solidFill>
                  <a:schemeClr val="bg1"/>
                </a:solidFill>
                <a:latin typeface="+mj-lt"/>
                <a:ea typeface="Lato Light" charset="0"/>
                <a:cs typeface="Lato Light" charset="0"/>
              </a:rPr>
              <a:t>procedures of the competition</a:t>
            </a:r>
          </a:p>
        </p:txBody>
      </p:sp>
      <p:sp>
        <p:nvSpPr>
          <p:cNvPr id="21" name="TextBox 20">
            <a:extLst>
              <a:ext uri="{FF2B5EF4-FFF2-40B4-BE49-F238E27FC236}">
                <a16:creationId xmlns:a16="http://schemas.microsoft.com/office/drawing/2014/main" xmlns="" id="{FB2C59BD-40AD-44C5-B603-2F5D84367231}"/>
              </a:ext>
            </a:extLst>
          </p:cNvPr>
          <p:cNvSpPr txBox="1"/>
          <p:nvPr/>
        </p:nvSpPr>
        <p:spPr>
          <a:xfrm>
            <a:off x="4325314" y="1869853"/>
            <a:ext cx="7866686" cy="707886"/>
          </a:xfrm>
          <a:prstGeom prst="rect">
            <a:avLst/>
          </a:prstGeom>
          <a:noFill/>
        </p:spPr>
        <p:txBody>
          <a:bodyPr wrap="square">
            <a:spAutoFit/>
          </a:body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These criteria are indicators for the question of whether the Company can defend or expand its market position in order to generate sales growth</a:t>
            </a:r>
            <a:endParaRPr lang="en-GB" sz="2000" dirty="0">
              <a:solidFill>
                <a:srgbClr val="245473"/>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095727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C3F1630-F84C-4DBB-A92E-B4CBFC5956D4}"/>
              </a:ext>
            </a:extLst>
          </p:cNvPr>
          <p:cNvSpPr>
            <a:spLocks noGrp="1"/>
          </p:cNvSpPr>
          <p:nvPr>
            <p:ph type="body" sz="quarter" idx="11"/>
          </p:nvPr>
        </p:nvSpPr>
        <p:spPr>
          <a:xfrm>
            <a:off x="494411" y="2723027"/>
            <a:ext cx="9759932" cy="1582271"/>
          </a:xfrm>
        </p:spPr>
        <p:txBody>
          <a:bodyPr/>
          <a:lstStyle/>
          <a:p>
            <a:r>
              <a:rPr lang="en-GB" dirty="0"/>
              <a:t>Strategic Options in the Phases of  Crisis </a:t>
            </a:r>
          </a:p>
        </p:txBody>
      </p:sp>
    </p:spTree>
    <p:extLst>
      <p:ext uri="{BB962C8B-B14F-4D97-AF65-F5344CB8AC3E}">
        <p14:creationId xmlns:p14="http://schemas.microsoft.com/office/powerpoint/2010/main" val="20856501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51056" y="554973"/>
            <a:ext cx="8852375" cy="697353"/>
          </a:xfrm>
        </p:spPr>
        <p:txBody>
          <a:bodyPr>
            <a:normAutofit/>
          </a:bodyPr>
          <a:lstStyle/>
          <a:p>
            <a:r>
              <a:rPr lang="en-GB" dirty="0"/>
              <a:t>Overcoming Crisis Strategy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1606" y="1840759"/>
            <a:ext cx="3537025" cy="465285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The focus of the strategic realignment is on business field planning and resource reallocation as well as on the formulation of the corporate strategy. It must be determined how the goals defined in the company mission statement are to be achieved in the medium to long term.</a:t>
            </a:r>
          </a:p>
          <a:p>
            <a:pPr algn="l">
              <a:lnSpc>
                <a:spcPct val="100000"/>
              </a:lnSpc>
              <a:spcBef>
                <a:spcPts val="600"/>
              </a:spcBef>
            </a:pPr>
            <a:r>
              <a:rPr lang="en-GB"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Within the scope of the strategic realignment, the company has to align its potentials under aspects of effectiveness, sustainability and coherence.  Start with these three areas..</a:t>
            </a:r>
            <a:endParaRPr lang="en-GB" sz="1800" b="1"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17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5" name="Gruppieren 4">
            <a:extLst>
              <a:ext uri="{FF2B5EF4-FFF2-40B4-BE49-F238E27FC236}">
                <a16:creationId xmlns:a16="http://schemas.microsoft.com/office/drawing/2014/main" xmlns="" id="{37CB6D36-4C3D-45A7-A36D-042A32271E56}"/>
              </a:ext>
            </a:extLst>
          </p:cNvPr>
          <p:cNvGrpSpPr>
            <a:grpSpLocks noChangeAspect="1"/>
          </p:cNvGrpSpPr>
          <p:nvPr/>
        </p:nvGrpSpPr>
        <p:grpSpPr>
          <a:xfrm>
            <a:off x="8785347" y="2478070"/>
            <a:ext cx="3276000" cy="3276000"/>
            <a:chOff x="7510917" y="2077854"/>
            <a:chExt cx="3869722" cy="3869722"/>
          </a:xfrm>
        </p:grpSpPr>
        <p:sp>
          <p:nvSpPr>
            <p:cNvPr id="51" name="Oval 3">
              <a:extLst>
                <a:ext uri="{FF2B5EF4-FFF2-40B4-BE49-F238E27FC236}">
                  <a16:creationId xmlns:a16="http://schemas.microsoft.com/office/drawing/2014/main" xmlns="" id="{CE2A394E-11AC-40C7-A5B8-58D40AA95EE1}"/>
                </a:ext>
              </a:extLst>
            </p:cNvPr>
            <p:cNvSpPr/>
            <p:nvPr/>
          </p:nvSpPr>
          <p:spPr>
            <a:xfrm>
              <a:off x="7510917" y="2077854"/>
              <a:ext cx="3869722" cy="386972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2" name="Pie 8">
              <a:extLst>
                <a:ext uri="{FF2B5EF4-FFF2-40B4-BE49-F238E27FC236}">
                  <a16:creationId xmlns:a16="http://schemas.microsoft.com/office/drawing/2014/main" xmlns="" id="{E897233F-B7E1-4D89-B283-3CEBA2F2C365}"/>
                </a:ext>
              </a:extLst>
            </p:cNvPr>
            <p:cNvSpPr/>
            <p:nvPr/>
          </p:nvSpPr>
          <p:spPr>
            <a:xfrm>
              <a:off x="7510917" y="2077854"/>
              <a:ext cx="3869722" cy="3869722"/>
            </a:xfrm>
            <a:prstGeom prst="pie">
              <a:avLst>
                <a:gd name="adj1" fmla="val 16203509"/>
                <a:gd name="adj2" fmla="val 167963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3" name="Oval 4">
              <a:extLst>
                <a:ext uri="{FF2B5EF4-FFF2-40B4-BE49-F238E27FC236}">
                  <a16:creationId xmlns:a16="http://schemas.microsoft.com/office/drawing/2014/main" xmlns="" id="{CDD3F251-BAAB-4075-BEBF-52C9118F11DE}"/>
                </a:ext>
              </a:extLst>
            </p:cNvPr>
            <p:cNvSpPr/>
            <p:nvPr/>
          </p:nvSpPr>
          <p:spPr>
            <a:xfrm>
              <a:off x="7770371" y="2337308"/>
              <a:ext cx="3350814" cy="335081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4" name="Pie 9">
              <a:extLst>
                <a:ext uri="{FF2B5EF4-FFF2-40B4-BE49-F238E27FC236}">
                  <a16:creationId xmlns:a16="http://schemas.microsoft.com/office/drawing/2014/main" xmlns="" id="{9A2AC663-974E-43EF-905D-63060FBA2081}"/>
                </a:ext>
              </a:extLst>
            </p:cNvPr>
            <p:cNvSpPr/>
            <p:nvPr/>
          </p:nvSpPr>
          <p:spPr>
            <a:xfrm>
              <a:off x="7770371" y="2337308"/>
              <a:ext cx="3350814" cy="3350814"/>
            </a:xfrm>
            <a:prstGeom prst="pie">
              <a:avLst>
                <a:gd name="adj1" fmla="val 16200764"/>
                <a:gd name="adj2" fmla="val 87213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5" name="Oval 5">
              <a:extLst>
                <a:ext uri="{FF2B5EF4-FFF2-40B4-BE49-F238E27FC236}">
                  <a16:creationId xmlns:a16="http://schemas.microsoft.com/office/drawing/2014/main" xmlns="" id="{84FD8D44-159D-4FC8-9FAE-BBDF2F6EFECE}"/>
                </a:ext>
              </a:extLst>
            </p:cNvPr>
            <p:cNvSpPr/>
            <p:nvPr/>
          </p:nvSpPr>
          <p:spPr>
            <a:xfrm>
              <a:off x="8038275" y="2605212"/>
              <a:ext cx="2815006" cy="281500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6" name="Pie 10">
              <a:extLst>
                <a:ext uri="{FF2B5EF4-FFF2-40B4-BE49-F238E27FC236}">
                  <a16:creationId xmlns:a16="http://schemas.microsoft.com/office/drawing/2014/main" xmlns="" id="{0CFC9224-9892-40FB-8C5B-38B680FB5C13}"/>
                </a:ext>
              </a:extLst>
            </p:cNvPr>
            <p:cNvSpPr/>
            <p:nvPr/>
          </p:nvSpPr>
          <p:spPr>
            <a:xfrm>
              <a:off x="8038275" y="2605212"/>
              <a:ext cx="2815006" cy="2815006"/>
            </a:xfrm>
            <a:prstGeom prst="pie">
              <a:avLst>
                <a:gd name="adj1" fmla="val 16205589"/>
                <a:gd name="adj2" fmla="val 1308947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7" name="Oval 6">
              <a:extLst>
                <a:ext uri="{FF2B5EF4-FFF2-40B4-BE49-F238E27FC236}">
                  <a16:creationId xmlns:a16="http://schemas.microsoft.com/office/drawing/2014/main" xmlns="" id="{AAF98D97-DC49-4791-8B0C-D0A54B3E5D75}"/>
                </a:ext>
              </a:extLst>
            </p:cNvPr>
            <p:cNvSpPr/>
            <p:nvPr/>
          </p:nvSpPr>
          <p:spPr>
            <a:xfrm>
              <a:off x="8318350" y="2885287"/>
              <a:ext cx="2254857" cy="225485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8" name="Pie 11">
              <a:extLst>
                <a:ext uri="{FF2B5EF4-FFF2-40B4-BE49-F238E27FC236}">
                  <a16:creationId xmlns:a16="http://schemas.microsoft.com/office/drawing/2014/main" xmlns="" id="{AF57F6F3-DEA0-4F1E-A985-4C189267102B}"/>
                </a:ext>
              </a:extLst>
            </p:cNvPr>
            <p:cNvSpPr/>
            <p:nvPr/>
          </p:nvSpPr>
          <p:spPr>
            <a:xfrm>
              <a:off x="8318350" y="2885287"/>
              <a:ext cx="2254857" cy="2254857"/>
            </a:xfrm>
            <a:prstGeom prst="pie">
              <a:avLst>
                <a:gd name="adj1" fmla="val 16201900"/>
                <a:gd name="adj2" fmla="val 479570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9" name="Oval 7">
              <a:extLst>
                <a:ext uri="{FF2B5EF4-FFF2-40B4-BE49-F238E27FC236}">
                  <a16:creationId xmlns:a16="http://schemas.microsoft.com/office/drawing/2014/main" xmlns="" id="{BB2CD242-BE6B-43B9-8D85-FF0731F7FD60}"/>
                </a:ext>
              </a:extLst>
            </p:cNvPr>
            <p:cNvSpPr/>
            <p:nvPr/>
          </p:nvSpPr>
          <p:spPr>
            <a:xfrm>
              <a:off x="8568055" y="3134992"/>
              <a:ext cx="1755449" cy="17554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60" name="Pie 12">
              <a:extLst>
                <a:ext uri="{FF2B5EF4-FFF2-40B4-BE49-F238E27FC236}">
                  <a16:creationId xmlns:a16="http://schemas.microsoft.com/office/drawing/2014/main" xmlns="" id="{B495B48A-3B59-4788-A6F7-F2090E26F859}"/>
                </a:ext>
              </a:extLst>
            </p:cNvPr>
            <p:cNvSpPr/>
            <p:nvPr/>
          </p:nvSpPr>
          <p:spPr>
            <a:xfrm>
              <a:off x="8568055" y="3134992"/>
              <a:ext cx="1755449" cy="1755449"/>
            </a:xfrm>
            <a:prstGeom prst="pie">
              <a:avLst>
                <a:gd name="adj1" fmla="val 16194857"/>
                <a:gd name="adj2" fmla="val 654935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61" name="Oval 14">
              <a:extLst>
                <a:ext uri="{FF2B5EF4-FFF2-40B4-BE49-F238E27FC236}">
                  <a16:creationId xmlns:a16="http://schemas.microsoft.com/office/drawing/2014/main" xmlns="" id="{2C62071C-B80B-4EF8-AB20-C060FF4E1EE0}"/>
                </a:ext>
              </a:extLst>
            </p:cNvPr>
            <p:cNvSpPr/>
            <p:nvPr/>
          </p:nvSpPr>
          <p:spPr>
            <a:xfrm>
              <a:off x="8856872" y="3423809"/>
              <a:ext cx="1177815" cy="117781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grpSp>
      <p:sp>
        <p:nvSpPr>
          <p:cNvPr id="63" name="TextBox 19">
            <a:extLst>
              <a:ext uri="{FF2B5EF4-FFF2-40B4-BE49-F238E27FC236}">
                <a16:creationId xmlns:a16="http://schemas.microsoft.com/office/drawing/2014/main" xmlns="" id="{090A32C1-11C9-4E5B-8E18-7B19ECEEF201}"/>
              </a:ext>
            </a:extLst>
          </p:cNvPr>
          <p:cNvSpPr txBox="1"/>
          <p:nvPr/>
        </p:nvSpPr>
        <p:spPr>
          <a:xfrm>
            <a:off x="3855003" y="1789619"/>
            <a:ext cx="4438391" cy="384721"/>
          </a:xfrm>
          <a:prstGeom prst="rect">
            <a:avLst/>
          </a:prstGeom>
          <a:noFill/>
        </p:spPr>
        <p:txBody>
          <a:bodyPr wrap="square" lIns="91440" tIns="45720" rIns="91440" bIns="45720" rtlCol="0" anchor="b" anchorCtr="0">
            <a:spAutoFit/>
          </a:bodyPr>
          <a:lstStyle/>
          <a:p>
            <a:r>
              <a:rPr lang="en-GB" sz="1900" b="1" dirty="0">
                <a:solidFill>
                  <a:srgbClr val="F95C2C"/>
                </a:solidFill>
                <a:latin typeface="+mj-lt"/>
                <a:ea typeface="League Spartan" charset="0"/>
                <a:cs typeface="Poppins" pitchFamily="2" charset="77"/>
              </a:rPr>
              <a:t>Strengthening of the core business</a:t>
            </a:r>
          </a:p>
        </p:txBody>
      </p:sp>
      <p:sp>
        <p:nvSpPr>
          <p:cNvPr id="64" name="Subtitle 2">
            <a:extLst>
              <a:ext uri="{FF2B5EF4-FFF2-40B4-BE49-F238E27FC236}">
                <a16:creationId xmlns:a16="http://schemas.microsoft.com/office/drawing/2014/main" xmlns="" id="{DF9B471D-2D31-4257-87A0-9702833E1C64}"/>
              </a:ext>
            </a:extLst>
          </p:cNvPr>
          <p:cNvSpPr txBox="1">
            <a:spLocks/>
          </p:cNvSpPr>
          <p:nvPr/>
        </p:nvSpPr>
        <p:spPr>
          <a:xfrm>
            <a:off x="3966595" y="2168347"/>
            <a:ext cx="5443683"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argeted profiling of the brand or product | Definition of the brand segment or niche occupancy | Profiling through identification and development of strengths and elimination of weaknesses</a:t>
            </a:r>
          </a:p>
        </p:txBody>
      </p:sp>
      <p:sp>
        <p:nvSpPr>
          <p:cNvPr id="66" name="TextBox 26">
            <a:extLst>
              <a:ext uri="{FF2B5EF4-FFF2-40B4-BE49-F238E27FC236}">
                <a16:creationId xmlns:a16="http://schemas.microsoft.com/office/drawing/2014/main" xmlns="" id="{6A9CA847-1C3D-45E5-9C4F-D5433FA6AEF5}"/>
              </a:ext>
            </a:extLst>
          </p:cNvPr>
          <p:cNvSpPr txBox="1"/>
          <p:nvPr/>
        </p:nvSpPr>
        <p:spPr>
          <a:xfrm>
            <a:off x="3918277" y="3269322"/>
            <a:ext cx="3064071" cy="369332"/>
          </a:xfrm>
          <a:prstGeom prst="rect">
            <a:avLst/>
          </a:prstGeom>
          <a:noFill/>
        </p:spPr>
        <p:txBody>
          <a:bodyPr wrap="square" rtlCol="0" anchor="b" anchorCtr="0">
            <a:spAutoFit/>
          </a:bodyPr>
          <a:lstStyle/>
          <a:p>
            <a:r>
              <a:rPr lang="en-GB" b="1" dirty="0">
                <a:solidFill>
                  <a:srgbClr val="E53292"/>
                </a:solidFill>
                <a:latin typeface="+mj-lt"/>
                <a:ea typeface="League Spartan" charset="0"/>
                <a:cs typeface="Poppins" pitchFamily="2" charset="77"/>
              </a:rPr>
              <a:t>Expansion of the core business</a:t>
            </a:r>
          </a:p>
        </p:txBody>
      </p:sp>
      <p:sp>
        <p:nvSpPr>
          <p:cNvPr id="67" name="Subtitle 2">
            <a:extLst>
              <a:ext uri="{FF2B5EF4-FFF2-40B4-BE49-F238E27FC236}">
                <a16:creationId xmlns:a16="http://schemas.microsoft.com/office/drawing/2014/main" xmlns="" id="{DF46AECD-160B-43F4-BBF2-A6B450C361AB}"/>
              </a:ext>
            </a:extLst>
          </p:cNvPr>
          <p:cNvSpPr txBox="1">
            <a:spLocks/>
          </p:cNvSpPr>
          <p:nvPr/>
        </p:nvSpPr>
        <p:spPr>
          <a:xfrm>
            <a:off x="4024330" y="3658546"/>
            <a:ext cx="4622035"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Offering complementary products and services | </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Offer integrated solutions beyond the services </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provided so far</a:t>
            </a:r>
          </a:p>
        </p:txBody>
      </p:sp>
      <p:sp>
        <p:nvSpPr>
          <p:cNvPr id="69" name="TextBox 31">
            <a:extLst>
              <a:ext uri="{FF2B5EF4-FFF2-40B4-BE49-F238E27FC236}">
                <a16:creationId xmlns:a16="http://schemas.microsoft.com/office/drawing/2014/main" xmlns="" id="{E38030BA-FEEE-4C86-85F0-81F39C8E24D7}"/>
              </a:ext>
            </a:extLst>
          </p:cNvPr>
          <p:cNvSpPr txBox="1"/>
          <p:nvPr/>
        </p:nvSpPr>
        <p:spPr>
          <a:xfrm>
            <a:off x="4019735" y="4597663"/>
            <a:ext cx="5229517" cy="584775"/>
          </a:xfrm>
          <a:prstGeom prst="rect">
            <a:avLst/>
          </a:prstGeom>
          <a:noFill/>
        </p:spPr>
        <p:txBody>
          <a:bodyPr wrap="square" lIns="91440" tIns="45720" rIns="91440" bIns="45720" rtlCol="0" anchor="b" anchorCtr="0">
            <a:spAutoFit/>
          </a:bodyPr>
          <a:lstStyle/>
          <a:p>
            <a:r>
              <a:rPr lang="en-GB" sz="1600" b="1" dirty="0">
                <a:solidFill>
                  <a:srgbClr val="245473"/>
                </a:solidFill>
                <a:latin typeface="+mj-lt"/>
                <a:ea typeface="League Spartan" charset="0"/>
                <a:cs typeface="Poppins" pitchFamily="2" charset="77"/>
              </a:rPr>
              <a:t>Further options for the strategic planning measures </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to be defined</a:t>
            </a:r>
          </a:p>
        </p:txBody>
      </p:sp>
      <p:sp>
        <p:nvSpPr>
          <p:cNvPr id="70" name="Subtitle 2">
            <a:extLst>
              <a:ext uri="{FF2B5EF4-FFF2-40B4-BE49-F238E27FC236}">
                <a16:creationId xmlns:a16="http://schemas.microsoft.com/office/drawing/2014/main" xmlns="" id="{89C24A82-1F5E-4E90-8368-81AE7A79BCA4}"/>
              </a:ext>
            </a:extLst>
          </p:cNvPr>
          <p:cNvSpPr txBox="1">
            <a:spLocks/>
          </p:cNvSpPr>
          <p:nvPr/>
        </p:nvSpPr>
        <p:spPr>
          <a:xfrm>
            <a:off x="4040425" y="5215164"/>
            <a:ext cx="5010788" cy="14750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ransfer of existing products, brands, resources, skills and competencies to new fields of application: new customers, regions, business areas.</a:t>
            </a:r>
          </a:p>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evelopment of new success potentials: Product + process innovations | Develop core competencies</a:t>
            </a:r>
          </a:p>
        </p:txBody>
      </p:sp>
    </p:spTree>
    <p:extLst>
      <p:ext uri="{BB962C8B-B14F-4D97-AF65-F5344CB8AC3E}">
        <p14:creationId xmlns:p14="http://schemas.microsoft.com/office/powerpoint/2010/main" val="37309062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68896" y="578436"/>
            <a:ext cx="8852375" cy="697353"/>
          </a:xfrm>
        </p:spPr>
        <p:txBody>
          <a:bodyPr>
            <a:normAutofit/>
          </a:bodyPr>
          <a:lstStyle/>
          <a:p>
            <a:r>
              <a:rPr lang="en-GB" dirty="0"/>
              <a:t>Overcoming Crisis Strategy (co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1149" y="1820303"/>
            <a:ext cx="3802204" cy="536074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700" dirty="0">
                <a:solidFill>
                  <a:srgbClr val="245473"/>
                </a:solidFill>
                <a:latin typeface="+mj-lt"/>
                <a:ea typeface="Open Sans Light" panose="020B0306030504020204" pitchFamily="34" charset="0"/>
                <a:cs typeface="Open Sans Light" panose="020B0306030504020204" pitchFamily="34" charset="0"/>
              </a:rPr>
              <a:t>The optimization of the range of services in the tension between quality, costs and time is just as important as the detailed definition of portfolio composition, core business, core capabilities and the desired market position/competitive advantages, while constantly taking customer requirements into account</a:t>
            </a: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The material, intangible, human and financial resources available in the company are decisive for success</a:t>
            </a:r>
            <a:endParaRPr lang="en-GB" sz="17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The combination of existing resources leads to the acquisition of special skills, such as mastery of individual technologies or important processes</a:t>
            </a:r>
            <a:endParaRPr lang="en-GB" sz="17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These skills can in turn lead to the achievement of sustainable positive corporate development</a:t>
            </a:r>
            <a:endParaRPr lang="en-GB" sz="17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7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7" name="Gruppieren 6">
            <a:extLst>
              <a:ext uri="{FF2B5EF4-FFF2-40B4-BE49-F238E27FC236}">
                <a16:creationId xmlns:a16="http://schemas.microsoft.com/office/drawing/2014/main" xmlns="" id="{3D5012A7-9541-40B7-91B7-F89B38B3DA02}"/>
              </a:ext>
            </a:extLst>
          </p:cNvPr>
          <p:cNvGrpSpPr/>
          <p:nvPr/>
        </p:nvGrpSpPr>
        <p:grpSpPr>
          <a:xfrm>
            <a:off x="4038600" y="1822692"/>
            <a:ext cx="7913914" cy="4763165"/>
            <a:chOff x="4502203" y="2080221"/>
            <a:chExt cx="6397011" cy="2657780"/>
          </a:xfrm>
        </p:grpSpPr>
        <p:sp>
          <p:nvSpPr>
            <p:cNvPr id="25" name="Freeform 31">
              <a:extLst>
                <a:ext uri="{FF2B5EF4-FFF2-40B4-BE49-F238E27FC236}">
                  <a16:creationId xmlns:a16="http://schemas.microsoft.com/office/drawing/2014/main" xmlns="" id="{C86B3ACA-8E5D-4D97-97BA-EDE33BBA4D59}"/>
                </a:ext>
              </a:extLst>
            </p:cNvPr>
            <p:cNvSpPr>
              <a:spLocks noChangeArrowheads="1"/>
            </p:cNvSpPr>
            <p:nvPr/>
          </p:nvSpPr>
          <p:spPr bwMode="auto">
            <a:xfrm>
              <a:off x="8988115" y="3942744"/>
              <a:ext cx="1504528" cy="179573"/>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2700" dirty="0">
                <a:latin typeface="Roboto" charset="0"/>
                <a:ea typeface="Roboto" charset="0"/>
                <a:cs typeface="Roboto" charset="0"/>
              </a:endParaRPr>
            </a:p>
          </p:txBody>
        </p:sp>
        <p:sp>
          <p:nvSpPr>
            <p:cNvPr id="26" name="Freeform 33">
              <a:extLst>
                <a:ext uri="{FF2B5EF4-FFF2-40B4-BE49-F238E27FC236}">
                  <a16:creationId xmlns:a16="http://schemas.microsoft.com/office/drawing/2014/main" xmlns="" id="{F54E4C35-4FB2-41FE-89FF-56001957D408}"/>
                </a:ext>
              </a:extLst>
            </p:cNvPr>
            <p:cNvSpPr>
              <a:spLocks noChangeArrowheads="1"/>
            </p:cNvSpPr>
            <p:nvPr/>
          </p:nvSpPr>
          <p:spPr bwMode="auto">
            <a:xfrm>
              <a:off x="9679384" y="4086174"/>
              <a:ext cx="772594" cy="235507"/>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2700" dirty="0">
                <a:latin typeface="Roboto" charset="0"/>
                <a:ea typeface="Roboto" charset="0"/>
                <a:cs typeface="Roboto" charset="0"/>
              </a:endParaRPr>
            </a:p>
          </p:txBody>
        </p:sp>
        <p:sp>
          <p:nvSpPr>
            <p:cNvPr id="27" name="Freeform 34">
              <a:extLst>
                <a:ext uri="{FF2B5EF4-FFF2-40B4-BE49-F238E27FC236}">
                  <a16:creationId xmlns:a16="http://schemas.microsoft.com/office/drawing/2014/main" xmlns="" id="{BBFCC594-6BF9-429F-87C2-97BB580CF53E}"/>
                </a:ext>
              </a:extLst>
            </p:cNvPr>
            <p:cNvSpPr>
              <a:spLocks noChangeArrowheads="1"/>
            </p:cNvSpPr>
            <p:nvPr/>
          </p:nvSpPr>
          <p:spPr bwMode="auto">
            <a:xfrm>
              <a:off x="8748204" y="3758204"/>
              <a:ext cx="1744437" cy="212248"/>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2700" dirty="0">
                <a:latin typeface="Roboto" charset="0"/>
                <a:ea typeface="Roboto" charset="0"/>
                <a:cs typeface="Roboto" charset="0"/>
              </a:endParaRPr>
            </a:p>
          </p:txBody>
        </p:sp>
        <p:sp>
          <p:nvSpPr>
            <p:cNvPr id="28" name="Freeform 35">
              <a:extLst>
                <a:ext uri="{FF2B5EF4-FFF2-40B4-BE49-F238E27FC236}">
                  <a16:creationId xmlns:a16="http://schemas.microsoft.com/office/drawing/2014/main" xmlns="" id="{B1FADC7E-D356-42C0-86D6-90A1402F2FAF}"/>
                </a:ext>
              </a:extLst>
            </p:cNvPr>
            <p:cNvSpPr>
              <a:spLocks noChangeArrowheads="1"/>
            </p:cNvSpPr>
            <p:nvPr/>
          </p:nvSpPr>
          <p:spPr bwMode="auto">
            <a:xfrm>
              <a:off x="8571041" y="2080221"/>
              <a:ext cx="2328173" cy="2566669"/>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2700" dirty="0">
                <a:latin typeface="Roboto" charset="0"/>
                <a:ea typeface="Roboto" charset="0"/>
                <a:cs typeface="Roboto" charset="0"/>
              </a:endParaRPr>
            </a:p>
          </p:txBody>
        </p:sp>
        <p:sp>
          <p:nvSpPr>
            <p:cNvPr id="29" name="Freeform 37">
              <a:extLst>
                <a:ext uri="{FF2B5EF4-FFF2-40B4-BE49-F238E27FC236}">
                  <a16:creationId xmlns:a16="http://schemas.microsoft.com/office/drawing/2014/main" xmlns="" id="{C68A98C7-7777-4E34-BE4D-75C0539BE924}"/>
                </a:ext>
              </a:extLst>
            </p:cNvPr>
            <p:cNvSpPr>
              <a:spLocks noChangeArrowheads="1"/>
            </p:cNvSpPr>
            <p:nvPr/>
          </p:nvSpPr>
          <p:spPr bwMode="auto">
            <a:xfrm>
              <a:off x="6546160" y="2080223"/>
              <a:ext cx="1919290" cy="195965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chemeClr val="accent2"/>
            </a:solidFill>
            <a:ln>
              <a:noFill/>
            </a:ln>
            <a:effectLst/>
          </p:spPr>
          <p:txBody>
            <a:bodyPr wrap="none" anchor="ctr"/>
            <a:lstStyle/>
            <a:p>
              <a:endParaRPr lang="en-GB" sz="2700" dirty="0">
                <a:latin typeface="Roboto" charset="0"/>
                <a:ea typeface="Roboto" charset="0"/>
                <a:cs typeface="Roboto" charset="0"/>
              </a:endParaRPr>
            </a:p>
          </p:txBody>
        </p:sp>
        <p:sp>
          <p:nvSpPr>
            <p:cNvPr id="30" name="Freeform 39">
              <a:extLst>
                <a:ext uri="{FF2B5EF4-FFF2-40B4-BE49-F238E27FC236}">
                  <a16:creationId xmlns:a16="http://schemas.microsoft.com/office/drawing/2014/main" xmlns="" id="{CEDD705A-ACE6-489F-9C44-7C9CE97C7FE1}"/>
                </a:ext>
              </a:extLst>
            </p:cNvPr>
            <p:cNvSpPr>
              <a:spLocks noChangeArrowheads="1"/>
            </p:cNvSpPr>
            <p:nvPr/>
          </p:nvSpPr>
          <p:spPr bwMode="auto">
            <a:xfrm>
              <a:off x="4502203" y="2080222"/>
              <a:ext cx="2055425" cy="2657779"/>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chemeClr val="accent1"/>
            </a:solidFill>
            <a:ln>
              <a:noFill/>
            </a:ln>
            <a:effectLst/>
          </p:spPr>
          <p:txBody>
            <a:bodyPr wrap="none" anchor="ctr"/>
            <a:lstStyle/>
            <a:p>
              <a:endParaRPr lang="en-GB" sz="2700" dirty="0">
                <a:latin typeface="Roboto" charset="0"/>
                <a:ea typeface="Roboto" charset="0"/>
                <a:cs typeface="Roboto" charset="0"/>
              </a:endParaRPr>
            </a:p>
          </p:txBody>
        </p:sp>
      </p:grpSp>
      <p:sp>
        <p:nvSpPr>
          <p:cNvPr id="68" name="Subtitle 2">
            <a:extLst>
              <a:ext uri="{FF2B5EF4-FFF2-40B4-BE49-F238E27FC236}">
                <a16:creationId xmlns:a16="http://schemas.microsoft.com/office/drawing/2014/main" xmlns="" id="{4C178A3B-186B-4F5B-A13F-89D47B3955CE}"/>
              </a:ext>
            </a:extLst>
          </p:cNvPr>
          <p:cNvSpPr txBox="1">
            <a:spLocks/>
          </p:cNvSpPr>
          <p:nvPr/>
        </p:nvSpPr>
        <p:spPr>
          <a:xfrm>
            <a:off x="4126811" y="1934356"/>
            <a:ext cx="1969189" cy="36356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If the stakeholder crisis has a negative impact on the company's development, it can only be overcome if the management or supervisory bodies succeed in finding a common basis for trustful cooperation with all major interest groups</a:t>
            </a:r>
          </a:p>
        </p:txBody>
      </p:sp>
      <p:sp>
        <p:nvSpPr>
          <p:cNvPr id="71" name="Subtitle 2">
            <a:extLst>
              <a:ext uri="{FF2B5EF4-FFF2-40B4-BE49-F238E27FC236}">
                <a16:creationId xmlns:a16="http://schemas.microsoft.com/office/drawing/2014/main" xmlns="" id="{02E605D7-241B-4C88-9438-1300EB47C0F2}"/>
              </a:ext>
            </a:extLst>
          </p:cNvPr>
          <p:cNvSpPr txBox="1">
            <a:spLocks/>
          </p:cNvSpPr>
          <p:nvPr/>
        </p:nvSpPr>
        <p:spPr>
          <a:xfrm>
            <a:off x="6842250" y="1945001"/>
            <a:ext cx="1969189" cy="218906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A consensus must be reached on cooperation and on a jointly supported structure of objectives</a:t>
            </a:r>
          </a:p>
        </p:txBody>
      </p:sp>
      <p:sp>
        <p:nvSpPr>
          <p:cNvPr id="72" name="Subtitle 2">
            <a:extLst>
              <a:ext uri="{FF2B5EF4-FFF2-40B4-BE49-F238E27FC236}">
                <a16:creationId xmlns:a16="http://schemas.microsoft.com/office/drawing/2014/main" xmlns="" id="{55FF8A2F-2739-4B2B-8F20-1475B64E1D35}"/>
              </a:ext>
            </a:extLst>
          </p:cNvPr>
          <p:cNvSpPr txBox="1">
            <a:spLocks/>
          </p:cNvSpPr>
          <p:nvPr/>
        </p:nvSpPr>
        <p:spPr>
          <a:xfrm>
            <a:off x="9188712" y="1942729"/>
            <a:ext cx="2622288" cy="39126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In this context, it should be examined whether new organizational structures need to be created to support the intended restructuring plan and as a confidence-building measure to guide the company through the crisis, e.g. by setting up a restructuring advisory board, appointing new management bodies (Restructuring Officer), etc.</a:t>
            </a:r>
          </a:p>
        </p:txBody>
      </p:sp>
    </p:spTree>
    <p:extLst>
      <p:ext uri="{BB962C8B-B14F-4D97-AF65-F5344CB8AC3E}">
        <p14:creationId xmlns:p14="http://schemas.microsoft.com/office/powerpoint/2010/main" val="5554670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839576" y="506899"/>
            <a:ext cx="8852375" cy="697353"/>
          </a:xfrm>
        </p:spPr>
        <p:txBody>
          <a:bodyPr>
            <a:normAutofit/>
          </a:bodyPr>
          <a:lstStyle/>
          <a:p>
            <a:r>
              <a:rPr lang="en-GB" dirty="0"/>
              <a:t>Overcoming Crisis Strategy</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71027" y="2228881"/>
            <a:ext cx="2068528" cy="177514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 the end, however, the management itself must be able to manage:</a:t>
            </a:r>
            <a:endParaRPr lang="en-US" dirty="0">
              <a:solidFill>
                <a:srgbClr val="245473"/>
              </a:solidFill>
            </a:endParaRPr>
          </a:p>
        </p:txBody>
      </p:sp>
      <p:grpSp>
        <p:nvGrpSpPr>
          <p:cNvPr id="21" name="Group 23">
            <a:extLst>
              <a:ext uri="{FF2B5EF4-FFF2-40B4-BE49-F238E27FC236}">
                <a16:creationId xmlns:a16="http://schemas.microsoft.com/office/drawing/2014/main" xmlns="" id="{08D87D39-1ADE-4332-B3D1-AE7F2A1B1D50}"/>
              </a:ext>
            </a:extLst>
          </p:cNvPr>
          <p:cNvGrpSpPr/>
          <p:nvPr/>
        </p:nvGrpSpPr>
        <p:grpSpPr>
          <a:xfrm>
            <a:off x="5545485" y="2494870"/>
            <a:ext cx="3209831" cy="3221996"/>
            <a:chOff x="7910165" y="3409753"/>
            <a:chExt cx="8557321" cy="8589752"/>
          </a:xfrm>
        </p:grpSpPr>
        <p:sp>
          <p:nvSpPr>
            <p:cNvPr id="22" name="Freeform 1">
              <a:extLst>
                <a:ext uri="{FF2B5EF4-FFF2-40B4-BE49-F238E27FC236}">
                  <a16:creationId xmlns:a16="http://schemas.microsoft.com/office/drawing/2014/main" xmlns="" id="{E4B66A95-D654-43EA-80E1-38CC105C151F}"/>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p>
          </p:txBody>
        </p:sp>
        <p:sp>
          <p:nvSpPr>
            <p:cNvPr id="35" name="Freeform 3">
              <a:extLst>
                <a:ext uri="{FF2B5EF4-FFF2-40B4-BE49-F238E27FC236}">
                  <a16:creationId xmlns:a16="http://schemas.microsoft.com/office/drawing/2014/main" xmlns="" id="{7442D6C5-DB40-45E0-9B08-31DF2805A2FF}"/>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p>
          </p:txBody>
        </p:sp>
        <p:sp>
          <p:nvSpPr>
            <p:cNvPr id="36" name="Freeform 5">
              <a:extLst>
                <a:ext uri="{FF2B5EF4-FFF2-40B4-BE49-F238E27FC236}">
                  <a16:creationId xmlns:a16="http://schemas.microsoft.com/office/drawing/2014/main" xmlns="" id="{C1BE49CB-7129-4538-ACD6-2A72AE5EC5FC}"/>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p>
          </p:txBody>
        </p:sp>
        <p:sp>
          <p:nvSpPr>
            <p:cNvPr id="37" name="Freeform 6">
              <a:extLst>
                <a:ext uri="{FF2B5EF4-FFF2-40B4-BE49-F238E27FC236}">
                  <a16:creationId xmlns:a16="http://schemas.microsoft.com/office/drawing/2014/main" xmlns="" id="{B3845CA6-FE40-468E-84EF-B544B7323DE2}"/>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p>
          </p:txBody>
        </p:sp>
        <p:sp>
          <p:nvSpPr>
            <p:cNvPr id="38" name="Freeform 9">
              <a:extLst>
                <a:ext uri="{FF2B5EF4-FFF2-40B4-BE49-F238E27FC236}">
                  <a16:creationId xmlns:a16="http://schemas.microsoft.com/office/drawing/2014/main" xmlns="" id="{158A44F4-BE30-4C85-88F1-F39BDC01810A}"/>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p>
          </p:txBody>
        </p:sp>
        <p:sp>
          <p:nvSpPr>
            <p:cNvPr id="39" name="Freeform 11">
              <a:extLst>
                <a:ext uri="{FF2B5EF4-FFF2-40B4-BE49-F238E27FC236}">
                  <a16:creationId xmlns:a16="http://schemas.microsoft.com/office/drawing/2014/main" xmlns="" id="{91485255-9400-4F1C-B104-8CF92688DF50}"/>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p>
          </p:txBody>
        </p:sp>
        <p:sp>
          <p:nvSpPr>
            <p:cNvPr id="40" name="Freeform 13">
              <a:extLst>
                <a:ext uri="{FF2B5EF4-FFF2-40B4-BE49-F238E27FC236}">
                  <a16:creationId xmlns:a16="http://schemas.microsoft.com/office/drawing/2014/main" xmlns="" id="{7703EE77-9BA1-4056-AE15-DBAEBE2071E9}"/>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p>
          </p:txBody>
        </p:sp>
        <p:sp>
          <p:nvSpPr>
            <p:cNvPr id="41" name="Freeform 15">
              <a:extLst>
                <a:ext uri="{FF2B5EF4-FFF2-40B4-BE49-F238E27FC236}">
                  <a16:creationId xmlns:a16="http://schemas.microsoft.com/office/drawing/2014/main" xmlns="" id="{507D20F4-78ED-4CFE-9978-4830087A5916}"/>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p>
          </p:txBody>
        </p:sp>
      </p:grpSp>
      <p:sp>
        <p:nvSpPr>
          <p:cNvPr id="42" name="Oval 14">
            <a:extLst>
              <a:ext uri="{FF2B5EF4-FFF2-40B4-BE49-F238E27FC236}">
                <a16:creationId xmlns:a16="http://schemas.microsoft.com/office/drawing/2014/main" xmlns="" id="{67686590-C4FF-4F64-9189-C9A9E843A6E0}"/>
              </a:ext>
            </a:extLst>
          </p:cNvPr>
          <p:cNvSpPr/>
          <p:nvPr/>
        </p:nvSpPr>
        <p:spPr>
          <a:xfrm>
            <a:off x="7521017" y="4800763"/>
            <a:ext cx="968519" cy="9685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3" name="Freeform 951">
            <a:extLst>
              <a:ext uri="{FF2B5EF4-FFF2-40B4-BE49-F238E27FC236}">
                <a16:creationId xmlns:a16="http://schemas.microsoft.com/office/drawing/2014/main" xmlns="" id="{AAD62CF3-10D6-4A44-A78A-C28D416FC7FE}"/>
              </a:ext>
            </a:extLst>
          </p:cNvPr>
          <p:cNvSpPr>
            <a:spLocks noChangeAspect="1"/>
          </p:cNvSpPr>
          <p:nvPr/>
        </p:nvSpPr>
        <p:spPr bwMode="auto">
          <a:xfrm>
            <a:off x="7801003" y="5078233"/>
            <a:ext cx="408547" cy="413576"/>
          </a:xfrm>
          <a:custGeom>
            <a:avLst/>
            <a:gdLst>
              <a:gd name="T0" fmla="*/ 7629764 w 283807"/>
              <a:gd name="T1" fmla="*/ 7279539 h 286528"/>
              <a:gd name="T2" fmla="*/ 4970194 w 283807"/>
              <a:gd name="T3" fmla="*/ 10433779 h 286528"/>
              <a:gd name="T4" fmla="*/ 2623495 w 283807"/>
              <a:gd name="T5" fmla="*/ 6957379 h 286528"/>
              <a:gd name="T6" fmla="*/ 10155648 w 283807"/>
              <a:gd name="T7" fmla="*/ 10667301 h 286528"/>
              <a:gd name="T8" fmla="*/ 9055113 w 283807"/>
              <a:gd name="T9" fmla="*/ 10491788 h 286528"/>
              <a:gd name="T10" fmla="*/ 8576029 w 283807"/>
              <a:gd name="T11" fmla="*/ 9546927 h 286528"/>
              <a:gd name="T12" fmla="*/ 10000283 w 283807"/>
              <a:gd name="T13" fmla="*/ 6941998 h 286528"/>
              <a:gd name="T14" fmla="*/ 312876 w 283807"/>
              <a:gd name="T15" fmla="*/ 9222950 h 286528"/>
              <a:gd name="T16" fmla="*/ 1577434 w 283807"/>
              <a:gd name="T17" fmla="*/ 9546927 h 286528"/>
              <a:gd name="T18" fmla="*/ 1264538 w 283807"/>
              <a:gd name="T19" fmla="*/ 9546927 h 286528"/>
              <a:gd name="T20" fmla="*/ 0 w 283807"/>
              <a:gd name="T21" fmla="*/ 10491788 h 286528"/>
              <a:gd name="T22" fmla="*/ 1095486 w 283807"/>
              <a:gd name="T23" fmla="*/ 5219421 h 286528"/>
              <a:gd name="T24" fmla="*/ 2444856 w 283807"/>
              <a:gd name="T25" fmla="*/ 8538722 h 286528"/>
              <a:gd name="T26" fmla="*/ 3492882 w 283807"/>
              <a:gd name="T27" fmla="*/ 10272257 h 286528"/>
              <a:gd name="T28" fmla="*/ 3283225 w 283807"/>
              <a:gd name="T29" fmla="*/ 8216203 h 286528"/>
              <a:gd name="T30" fmla="*/ 1724380 w 283807"/>
              <a:gd name="T31" fmla="*/ 5810656 h 286528"/>
              <a:gd name="T32" fmla="*/ 3414232 w 283807"/>
              <a:gd name="T33" fmla="*/ 6092911 h 286528"/>
              <a:gd name="T34" fmla="*/ 4383706 w 283807"/>
              <a:gd name="T35" fmla="*/ 5380673 h 286528"/>
              <a:gd name="T36" fmla="*/ 1737387 w 283807"/>
              <a:gd name="T37" fmla="*/ 5152240 h 286528"/>
              <a:gd name="T38" fmla="*/ 6117282 w 283807"/>
              <a:gd name="T39" fmla="*/ 5418551 h 286528"/>
              <a:gd name="T40" fmla="*/ 8482733 w 283807"/>
              <a:gd name="T41" fmla="*/ 5685449 h 286528"/>
              <a:gd name="T42" fmla="*/ 8062182 w 283807"/>
              <a:gd name="T43" fmla="*/ 7993466 h 286528"/>
              <a:gd name="T44" fmla="*/ 6550953 w 283807"/>
              <a:gd name="T45" fmla="*/ 10181407 h 286528"/>
              <a:gd name="T46" fmla="*/ 7418251 w 283807"/>
              <a:gd name="T47" fmla="*/ 8914016 h 286528"/>
              <a:gd name="T48" fmla="*/ 9520904 w 283807"/>
              <a:gd name="T49" fmla="*/ 5551988 h 286528"/>
              <a:gd name="T50" fmla="*/ 7470849 w 283807"/>
              <a:gd name="T51" fmla="*/ 5645422 h 286528"/>
              <a:gd name="T52" fmla="*/ 7181777 w 283807"/>
              <a:gd name="T53" fmla="*/ 5325168 h 286528"/>
              <a:gd name="T54" fmla="*/ 9297479 w 283807"/>
              <a:gd name="T55" fmla="*/ 4938329 h 286528"/>
              <a:gd name="T56" fmla="*/ 7904533 w 283807"/>
              <a:gd name="T57" fmla="*/ 8873965 h 286528"/>
              <a:gd name="T58" fmla="*/ 6761206 w 283807"/>
              <a:gd name="T59" fmla="*/ 10608360 h 286528"/>
              <a:gd name="T60" fmla="*/ 7365728 w 283807"/>
              <a:gd name="T61" fmla="*/ 7699936 h 286528"/>
              <a:gd name="T62" fmla="*/ 7444558 w 283807"/>
              <a:gd name="T63" fmla="*/ 6459188 h 286528"/>
              <a:gd name="T64" fmla="*/ 5828146 w 283807"/>
              <a:gd name="T65" fmla="*/ 4965017 h 286528"/>
              <a:gd name="T66" fmla="*/ 3191539 w 283807"/>
              <a:gd name="T67" fmla="*/ 5380673 h 286528"/>
              <a:gd name="T68" fmla="*/ 4881542 w 283807"/>
              <a:gd name="T69" fmla="*/ 5783795 h 286528"/>
              <a:gd name="T70" fmla="*/ 2038717 w 283807"/>
              <a:gd name="T71" fmla="*/ 6025737 h 286528"/>
              <a:gd name="T72" fmla="*/ 3584567 w 283807"/>
              <a:gd name="T73" fmla="*/ 8108662 h 286528"/>
              <a:gd name="T74" fmla="*/ 3492882 w 283807"/>
              <a:gd name="T75" fmla="*/ 10608257 h 286528"/>
              <a:gd name="T76" fmla="*/ 1514692 w 283807"/>
              <a:gd name="T77" fmla="*/ 8888139 h 286528"/>
              <a:gd name="T78" fmla="*/ 1698156 w 283807"/>
              <a:gd name="T79" fmla="*/ 4843078 h 286528"/>
              <a:gd name="T80" fmla="*/ 8641862 w 283807"/>
              <a:gd name="T81" fmla="*/ 4239087 h 286528"/>
              <a:gd name="T82" fmla="*/ 8968600 w 283807"/>
              <a:gd name="T83" fmla="*/ 3361935 h 286528"/>
              <a:gd name="T84" fmla="*/ 1224675 w 283807"/>
              <a:gd name="T85" fmla="*/ 4347130 h 286528"/>
              <a:gd name="T86" fmla="*/ 1342334 w 283807"/>
              <a:gd name="T87" fmla="*/ 3361935 h 286528"/>
              <a:gd name="T88" fmla="*/ 9164573 w 283807"/>
              <a:gd name="T89" fmla="*/ 4671004 h 286528"/>
              <a:gd name="T90" fmla="*/ 8772574 w 283807"/>
              <a:gd name="T91" fmla="*/ 3064973 h 286528"/>
              <a:gd name="T92" fmla="*/ 1342334 w 283807"/>
              <a:gd name="T93" fmla="*/ 4697987 h 286528"/>
              <a:gd name="T94" fmla="*/ 1538280 w 283807"/>
              <a:gd name="T95" fmla="*/ 3064973 h 286528"/>
              <a:gd name="T96" fmla="*/ 5286808 w 283807"/>
              <a:gd name="T97" fmla="*/ 2944175 h 286528"/>
              <a:gd name="T98" fmla="*/ 4204825 w 283807"/>
              <a:gd name="T99" fmla="*/ 1837184 h 286528"/>
              <a:gd name="T100" fmla="*/ 3445345 w 283807"/>
              <a:gd name="T101" fmla="*/ 42384 h 286528"/>
              <a:gd name="T102" fmla="*/ 3603209 w 283807"/>
              <a:gd name="T103" fmla="*/ 364464 h 286528"/>
              <a:gd name="T104" fmla="*/ 5155409 w 283807"/>
              <a:gd name="T105" fmla="*/ 4309059 h 286528"/>
              <a:gd name="T106" fmla="*/ 6707605 w 283807"/>
              <a:gd name="T107" fmla="*/ 2524558 h 286528"/>
              <a:gd name="T108" fmla="*/ 6852260 w 283807"/>
              <a:gd name="T109" fmla="*/ 3839433 h 286528"/>
              <a:gd name="T110" fmla="*/ 5037024 w 283807"/>
              <a:gd name="T111" fmla="*/ 4644400 h 286528"/>
              <a:gd name="T112" fmla="*/ 3287561 w 283807"/>
              <a:gd name="T113" fmla="*/ 190006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p:spPr>
        <p:txBody>
          <a:bodyPr anchor="ctr"/>
          <a:lstStyle/>
          <a:p>
            <a:endParaRPr lang="en-GB" sz="1600" dirty="0"/>
          </a:p>
        </p:txBody>
      </p:sp>
      <p:sp>
        <p:nvSpPr>
          <p:cNvPr id="44" name="Oval 13">
            <a:extLst>
              <a:ext uri="{FF2B5EF4-FFF2-40B4-BE49-F238E27FC236}">
                <a16:creationId xmlns:a16="http://schemas.microsoft.com/office/drawing/2014/main" xmlns="" id="{61D4D171-72E0-42A9-A19D-295F8F7D2A48}"/>
              </a:ext>
            </a:extLst>
          </p:cNvPr>
          <p:cNvSpPr/>
          <p:nvPr/>
        </p:nvSpPr>
        <p:spPr>
          <a:xfrm>
            <a:off x="5811265" y="4800763"/>
            <a:ext cx="968519" cy="9685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5" name="Freeform 953">
            <a:extLst>
              <a:ext uri="{FF2B5EF4-FFF2-40B4-BE49-F238E27FC236}">
                <a16:creationId xmlns:a16="http://schemas.microsoft.com/office/drawing/2014/main" xmlns="" id="{9CAF8C97-3835-4EA6-B18D-3646BCC60F4F}"/>
              </a:ext>
            </a:extLst>
          </p:cNvPr>
          <p:cNvSpPr>
            <a:spLocks noChangeAspect="1"/>
          </p:cNvSpPr>
          <p:nvPr/>
        </p:nvSpPr>
        <p:spPr bwMode="auto">
          <a:xfrm>
            <a:off x="6107591" y="5080747"/>
            <a:ext cx="375864" cy="408548"/>
          </a:xfrm>
          <a:custGeom>
            <a:avLst/>
            <a:gdLst>
              <a:gd name="T0" fmla="*/ 3568639 w 262269"/>
              <a:gd name="T1" fmla="*/ 4175549 h 283804"/>
              <a:gd name="T2" fmla="*/ 4565286 w 262269"/>
              <a:gd name="T3" fmla="*/ 4175549 h 283804"/>
              <a:gd name="T4" fmla="*/ 4066997 w 262269"/>
              <a:gd name="T5" fmla="*/ 3345592 h 283804"/>
              <a:gd name="T6" fmla="*/ 4066997 w 262269"/>
              <a:gd name="T7" fmla="*/ 5005413 h 283804"/>
              <a:gd name="T8" fmla="*/ 4066997 w 262269"/>
              <a:gd name="T9" fmla="*/ 3345592 h 283804"/>
              <a:gd name="T10" fmla="*/ 2728046 w 262269"/>
              <a:gd name="T11" fmla="*/ 4195985 h 283804"/>
              <a:gd name="T12" fmla="*/ 3546752 w 262269"/>
              <a:gd name="T13" fmla="*/ 5584225 h 283804"/>
              <a:gd name="T14" fmla="*/ 4063182 w 262269"/>
              <a:gd name="T15" fmla="*/ 9932289 h 283804"/>
              <a:gd name="T16" fmla="*/ 4277250 w 262269"/>
              <a:gd name="T17" fmla="*/ 9303631 h 283804"/>
              <a:gd name="T18" fmla="*/ 4478803 w 262269"/>
              <a:gd name="T19" fmla="*/ 8635707 h 283804"/>
              <a:gd name="T20" fmla="*/ 4289834 w 262269"/>
              <a:gd name="T21" fmla="*/ 7980891 h 283804"/>
              <a:gd name="T22" fmla="*/ 4289834 w 262269"/>
              <a:gd name="T23" fmla="*/ 7587963 h 283804"/>
              <a:gd name="T24" fmla="*/ 4289834 w 262269"/>
              <a:gd name="T25" fmla="*/ 7129618 h 283804"/>
              <a:gd name="T26" fmla="*/ 4629951 w 262269"/>
              <a:gd name="T27" fmla="*/ 5584225 h 283804"/>
              <a:gd name="T28" fmla="*/ 5448575 w 262269"/>
              <a:gd name="T29" fmla="*/ 4195985 h 283804"/>
              <a:gd name="T30" fmla="*/ 4088316 w 262269"/>
              <a:gd name="T31" fmla="*/ 2480391 h 283804"/>
              <a:gd name="T32" fmla="*/ 4932213 w 262269"/>
              <a:gd name="T33" fmla="*/ 5689021 h 283804"/>
              <a:gd name="T34" fmla="*/ 4881852 w 262269"/>
              <a:gd name="T35" fmla="*/ 6959374 h 283804"/>
              <a:gd name="T36" fmla="*/ 4617366 w 262269"/>
              <a:gd name="T37" fmla="*/ 7483233 h 283804"/>
              <a:gd name="T38" fmla="*/ 4806274 w 262269"/>
              <a:gd name="T39" fmla="*/ 7902291 h 283804"/>
              <a:gd name="T40" fmla="*/ 4617366 w 262269"/>
              <a:gd name="T41" fmla="*/ 8334494 h 283804"/>
              <a:gd name="T42" fmla="*/ 4844020 w 262269"/>
              <a:gd name="T43" fmla="*/ 8635707 h 283804"/>
              <a:gd name="T44" fmla="*/ 4491387 w 262269"/>
              <a:gd name="T45" fmla="*/ 9067859 h 283804"/>
              <a:gd name="T46" fmla="*/ 4831432 w 262269"/>
              <a:gd name="T47" fmla="*/ 9500086 h 283804"/>
              <a:gd name="T48" fmla="*/ 4163909 w 262269"/>
              <a:gd name="T49" fmla="*/ 10259675 h 283804"/>
              <a:gd name="T50" fmla="*/ 3949794 w 262269"/>
              <a:gd name="T51" fmla="*/ 10259675 h 283804"/>
              <a:gd name="T52" fmla="*/ 3244467 w 262269"/>
              <a:gd name="T53" fmla="*/ 9460788 h 283804"/>
              <a:gd name="T54" fmla="*/ 2438411 w 262269"/>
              <a:gd name="T55" fmla="*/ 4195985 h 283804"/>
              <a:gd name="T56" fmla="*/ 4088380 w 262269"/>
              <a:gd name="T57" fmla="*/ 1442000 h 283804"/>
              <a:gd name="T58" fmla="*/ 6748486 w 262269"/>
              <a:gd name="T59" fmla="*/ 4194607 h 283804"/>
              <a:gd name="T60" fmla="*/ 5857598 w 262269"/>
              <a:gd name="T61" fmla="*/ 6203613 h 283804"/>
              <a:gd name="T62" fmla="*/ 5744646 w 262269"/>
              <a:gd name="T63" fmla="*/ 5929663 h 283804"/>
              <a:gd name="T64" fmla="*/ 5744646 w 262269"/>
              <a:gd name="T65" fmla="*/ 2459661 h 283804"/>
              <a:gd name="T66" fmla="*/ 2419562 w 262269"/>
              <a:gd name="T67" fmla="*/ 2459661 h 283804"/>
              <a:gd name="T68" fmla="*/ 2419562 w 262269"/>
              <a:gd name="T69" fmla="*/ 5929663 h 283804"/>
              <a:gd name="T70" fmla="*/ 2206223 w 262269"/>
              <a:gd name="T71" fmla="*/ 6151428 h 283804"/>
              <a:gd name="T72" fmla="*/ 2206223 w 262269"/>
              <a:gd name="T73" fmla="*/ 2250892 h 283804"/>
              <a:gd name="T74" fmla="*/ 4066300 w 262269"/>
              <a:gd name="T75" fmla="*/ 0 h 283804"/>
              <a:gd name="T76" fmla="*/ 8960908 w 262269"/>
              <a:gd name="T77" fmla="*/ 5625981 h 283804"/>
              <a:gd name="T78" fmla="*/ 8873084 w 262269"/>
              <a:gd name="T79" fmla="*/ 6552747 h 283804"/>
              <a:gd name="T80" fmla="*/ 8132602 w 262269"/>
              <a:gd name="T81" fmla="*/ 8393271 h 283804"/>
              <a:gd name="T82" fmla="*/ 6212453 w 262269"/>
              <a:gd name="T83" fmla="*/ 9398358 h 283804"/>
              <a:gd name="T84" fmla="*/ 6061790 w 262269"/>
              <a:gd name="T85" fmla="*/ 10312070 h 283804"/>
              <a:gd name="T86" fmla="*/ 5911210 w 262269"/>
              <a:gd name="T87" fmla="*/ 9398358 h 283804"/>
              <a:gd name="T88" fmla="*/ 7831383 w 262269"/>
              <a:gd name="T89" fmla="*/ 8341017 h 283804"/>
              <a:gd name="T90" fmla="*/ 7906695 w 262269"/>
              <a:gd name="T91" fmla="*/ 6683297 h 283804"/>
              <a:gd name="T92" fmla="*/ 8847984 w 262269"/>
              <a:gd name="T93" fmla="*/ 6122004 h 283804"/>
              <a:gd name="T94" fmla="*/ 7843990 w 262269"/>
              <a:gd name="T95" fmla="*/ 4255366 h 283804"/>
              <a:gd name="T96" fmla="*/ 4066300 w 262269"/>
              <a:gd name="T97" fmla="*/ 313303 h 283804"/>
              <a:gd name="T98" fmla="*/ 803229 w 262269"/>
              <a:gd name="T99" fmla="*/ 6161132 h 283804"/>
              <a:gd name="T100" fmla="*/ 1192297 w 262269"/>
              <a:gd name="T101" fmla="*/ 6839936 h 283804"/>
              <a:gd name="T102" fmla="*/ 2120958 w 262269"/>
              <a:gd name="T103" fmla="*/ 10142404 h 283804"/>
              <a:gd name="T104" fmla="*/ 1819759 w 262269"/>
              <a:gd name="T105" fmla="*/ 10155464 h 283804"/>
              <a:gd name="T106" fmla="*/ 941245 w 262269"/>
              <a:gd name="T107" fmla="*/ 7009651 h 283804"/>
              <a:gd name="T108" fmla="*/ 539667 w 262269"/>
              <a:gd name="T109" fmla="*/ 6330841 h 283804"/>
              <a:gd name="T110" fmla="*/ 4066300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p:spPr>
        <p:txBody>
          <a:bodyPr anchor="ctr"/>
          <a:lstStyle/>
          <a:p>
            <a:endParaRPr lang="en-GB" sz="1600" dirty="0"/>
          </a:p>
        </p:txBody>
      </p:sp>
      <p:sp>
        <p:nvSpPr>
          <p:cNvPr id="46" name="Oval 16">
            <a:extLst>
              <a:ext uri="{FF2B5EF4-FFF2-40B4-BE49-F238E27FC236}">
                <a16:creationId xmlns:a16="http://schemas.microsoft.com/office/drawing/2014/main" xmlns="" id="{C44F0BA4-6F0A-4E6C-A6E8-F464941BEB25}"/>
              </a:ext>
            </a:extLst>
          </p:cNvPr>
          <p:cNvSpPr/>
          <p:nvPr/>
        </p:nvSpPr>
        <p:spPr>
          <a:xfrm>
            <a:off x="5380968" y="3267529"/>
            <a:ext cx="968519" cy="9685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7" name="Freeform 952">
            <a:extLst>
              <a:ext uri="{FF2B5EF4-FFF2-40B4-BE49-F238E27FC236}">
                <a16:creationId xmlns:a16="http://schemas.microsoft.com/office/drawing/2014/main" xmlns="" id="{04F3E5A4-5FCD-4757-ADD3-B1DF04258E9E}"/>
              </a:ext>
            </a:extLst>
          </p:cNvPr>
          <p:cNvSpPr>
            <a:spLocks noChangeAspect="1"/>
          </p:cNvSpPr>
          <p:nvPr/>
        </p:nvSpPr>
        <p:spPr bwMode="auto">
          <a:xfrm>
            <a:off x="5660325" y="3547514"/>
            <a:ext cx="409805" cy="408548"/>
          </a:xfrm>
          <a:custGeom>
            <a:avLst/>
            <a:gdLst>
              <a:gd name="T0" fmla="*/ 4634450 w 285390"/>
              <a:gd name="T1" fmla="*/ 8255285 h 283806"/>
              <a:gd name="T2" fmla="*/ 5549597 w 285390"/>
              <a:gd name="T3" fmla="*/ 8255285 h 283806"/>
              <a:gd name="T4" fmla="*/ 5965497 w 285390"/>
              <a:gd name="T5" fmla="*/ 7094344 h 283806"/>
              <a:gd name="T6" fmla="*/ 10240788 w 285390"/>
              <a:gd name="T7" fmla="*/ 7252865 h 283806"/>
              <a:gd name="T8" fmla="*/ 10085828 w 285390"/>
              <a:gd name="T9" fmla="*/ 9445861 h 283806"/>
              <a:gd name="T10" fmla="*/ 5810463 w 285390"/>
              <a:gd name="T11" fmla="*/ 9287375 h 283806"/>
              <a:gd name="T12" fmla="*/ 9930802 w 285390"/>
              <a:gd name="T13" fmla="*/ 9115627 h 283806"/>
              <a:gd name="T14" fmla="*/ 5965497 w 285390"/>
              <a:gd name="T15" fmla="*/ 7411407 h 283806"/>
              <a:gd name="T16" fmla="*/ 5965497 w 285390"/>
              <a:gd name="T17" fmla="*/ 7094344 h 283806"/>
              <a:gd name="T18" fmla="*/ 4275329 w 285390"/>
              <a:gd name="T19" fmla="*/ 7094344 h 283806"/>
              <a:gd name="T20" fmla="*/ 4275329 w 285390"/>
              <a:gd name="T21" fmla="*/ 7405634 h 283806"/>
              <a:gd name="T22" fmla="*/ 310002 w 285390"/>
              <a:gd name="T23" fmla="*/ 9870270 h 283806"/>
              <a:gd name="T24" fmla="*/ 1601633 w 285390"/>
              <a:gd name="T25" fmla="*/ 9078976 h 283806"/>
              <a:gd name="T26" fmla="*/ 4430371 w 285390"/>
              <a:gd name="T27" fmla="*/ 9247632 h 283806"/>
              <a:gd name="T28" fmla="*/ 1640423 w 285390"/>
              <a:gd name="T29" fmla="*/ 9403315 h 283806"/>
              <a:gd name="T30" fmla="*/ 154871 w 285390"/>
              <a:gd name="T31" fmla="*/ 10311277 h 283806"/>
              <a:gd name="T32" fmla="*/ 0 w 285390"/>
              <a:gd name="T33" fmla="*/ 10142663 h 283806"/>
              <a:gd name="T34" fmla="*/ 154871 w 285390"/>
              <a:gd name="T35" fmla="*/ 7094344 h 283806"/>
              <a:gd name="T36" fmla="*/ 4634450 w 285390"/>
              <a:gd name="T37" fmla="*/ 4700712 h 283806"/>
              <a:gd name="T38" fmla="*/ 5549597 w 285390"/>
              <a:gd name="T39" fmla="*/ 4700712 h 283806"/>
              <a:gd name="T40" fmla="*/ 5965497 w 285390"/>
              <a:gd name="T41" fmla="*/ 3518331 h 283806"/>
              <a:gd name="T42" fmla="*/ 10240788 w 285390"/>
              <a:gd name="T43" fmla="*/ 3674670 h 283806"/>
              <a:gd name="T44" fmla="*/ 10163348 w 285390"/>
              <a:gd name="T45" fmla="*/ 6722233 h 283806"/>
              <a:gd name="T46" fmla="*/ 10008336 w 285390"/>
              <a:gd name="T47" fmla="*/ 6722233 h 283806"/>
              <a:gd name="T48" fmla="*/ 5965497 w 285390"/>
              <a:gd name="T49" fmla="*/ 5823564 h 283806"/>
              <a:gd name="T50" fmla="*/ 5965497 w 285390"/>
              <a:gd name="T51" fmla="*/ 5511003 h 283806"/>
              <a:gd name="T52" fmla="*/ 8716652 w 285390"/>
              <a:gd name="T53" fmla="*/ 5550103 h 283806"/>
              <a:gd name="T54" fmla="*/ 9930802 w 285390"/>
              <a:gd name="T55" fmla="*/ 3830906 h 283806"/>
              <a:gd name="T56" fmla="*/ 5810463 w 285390"/>
              <a:gd name="T57" fmla="*/ 3674670 h 283806"/>
              <a:gd name="T58" fmla="*/ 154871 w 285390"/>
              <a:gd name="T59" fmla="*/ 3518331 h 283806"/>
              <a:gd name="T60" fmla="*/ 4430371 w 285390"/>
              <a:gd name="T61" fmla="*/ 3673870 h 283806"/>
              <a:gd name="T62" fmla="*/ 310002 w 285390"/>
              <a:gd name="T63" fmla="*/ 3829444 h 283806"/>
              <a:gd name="T64" fmla="*/ 4275329 w 285390"/>
              <a:gd name="T65" fmla="*/ 5501412 h 283806"/>
              <a:gd name="T66" fmla="*/ 4275329 w 285390"/>
              <a:gd name="T67" fmla="*/ 5812467 h 283806"/>
              <a:gd name="T68" fmla="*/ 0 w 285390"/>
              <a:gd name="T69" fmla="*/ 5669922 h 283806"/>
              <a:gd name="T70" fmla="*/ 154871 w 285390"/>
              <a:gd name="T71" fmla="*/ 3518331 h 283806"/>
              <a:gd name="T72" fmla="*/ 4634450 w 285390"/>
              <a:gd name="T73" fmla="*/ 1132978 h 283806"/>
              <a:gd name="T74" fmla="*/ 5549597 w 285390"/>
              <a:gd name="T75" fmla="*/ 1132978 h 283806"/>
              <a:gd name="T76" fmla="*/ 5091992 w 285390"/>
              <a:gd name="T77" fmla="*/ 346063 h 283806"/>
              <a:gd name="T78" fmla="*/ 5244574 w 285390"/>
              <a:gd name="T79" fmla="*/ 1906894 h 283806"/>
              <a:gd name="T80" fmla="*/ 5854700 w 285390"/>
              <a:gd name="T81" fmla="*/ 4700712 h 283806"/>
              <a:gd name="T82" fmla="*/ 5244574 w 285390"/>
              <a:gd name="T83" fmla="*/ 7481401 h 283806"/>
              <a:gd name="T84" fmla="*/ 5091992 w 285390"/>
              <a:gd name="T85" fmla="*/ 9042245 h 283806"/>
              <a:gd name="T86" fmla="*/ 4939516 w 285390"/>
              <a:gd name="T87" fmla="*/ 7481401 h 283806"/>
              <a:gd name="T88" fmla="*/ 4329355 w 285390"/>
              <a:gd name="T89" fmla="*/ 4700712 h 283806"/>
              <a:gd name="T90" fmla="*/ 4939516 w 285390"/>
              <a:gd name="T91" fmla="*/ 1906894 h 283806"/>
              <a:gd name="T92" fmla="*/ 5091992 w 285390"/>
              <a:gd name="T93" fmla="*/ 346063 h 283806"/>
              <a:gd name="T94" fmla="*/ 10085828 w 285390"/>
              <a:gd name="T95" fmla="*/ 0 h 283806"/>
              <a:gd name="T96" fmla="*/ 10240788 w 285390"/>
              <a:gd name="T97" fmla="*/ 2138548 h 283806"/>
              <a:gd name="T98" fmla="*/ 5965497 w 285390"/>
              <a:gd name="T99" fmla="*/ 2294179 h 283806"/>
              <a:gd name="T100" fmla="*/ 5965497 w 285390"/>
              <a:gd name="T101" fmla="*/ 1995963 h 283806"/>
              <a:gd name="T102" fmla="*/ 9930802 w 285390"/>
              <a:gd name="T103" fmla="*/ 311108 h 283806"/>
              <a:gd name="T104" fmla="*/ 5810463 w 285390"/>
              <a:gd name="T105" fmla="*/ 142574 h 283806"/>
              <a:gd name="T106" fmla="*/ 154871 w 285390"/>
              <a:gd name="T107" fmla="*/ 0 h 283806"/>
              <a:gd name="T108" fmla="*/ 4430371 w 285390"/>
              <a:gd name="T109" fmla="*/ 143254 h 283806"/>
              <a:gd name="T110" fmla="*/ 310002 w 285390"/>
              <a:gd name="T111" fmla="*/ 312599 h 283806"/>
              <a:gd name="T112" fmla="*/ 1511177 w 285390"/>
              <a:gd name="T113" fmla="*/ 2018727 h 283806"/>
              <a:gd name="T114" fmla="*/ 4275329 w 285390"/>
              <a:gd name="T115" fmla="*/ 2005742 h 283806"/>
              <a:gd name="T116" fmla="*/ 4275329 w 285390"/>
              <a:gd name="T117" fmla="*/ 2305250 h 283806"/>
              <a:gd name="T118" fmla="*/ 232450 w 285390"/>
              <a:gd name="T119" fmla="*/ 3190905 h 283806"/>
              <a:gd name="T120" fmla="*/ 77534 w 285390"/>
              <a:gd name="T121" fmla="*/ 3203846 h 283806"/>
              <a:gd name="T122" fmla="*/ 0 w 285390"/>
              <a:gd name="T123" fmla="*/ 143254 h 2838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3806">
                <a:moveTo>
                  <a:pt x="141904" y="214220"/>
                </a:moveTo>
                <a:cubicBezTo>
                  <a:pt x="134820" y="214220"/>
                  <a:pt x="129152" y="219996"/>
                  <a:pt x="129152" y="227216"/>
                </a:cubicBezTo>
                <a:cubicBezTo>
                  <a:pt x="129152" y="234437"/>
                  <a:pt x="134820" y="240213"/>
                  <a:pt x="141904" y="240213"/>
                </a:cubicBezTo>
                <a:cubicBezTo>
                  <a:pt x="148989" y="240213"/>
                  <a:pt x="154656" y="234437"/>
                  <a:pt x="154656" y="227216"/>
                </a:cubicBezTo>
                <a:cubicBezTo>
                  <a:pt x="154656" y="219996"/>
                  <a:pt x="148989" y="214220"/>
                  <a:pt x="141904" y="214220"/>
                </a:cubicBezTo>
                <a:close/>
                <a:moveTo>
                  <a:pt x="166245" y="195263"/>
                </a:moveTo>
                <a:lnTo>
                  <a:pt x="281071" y="195263"/>
                </a:lnTo>
                <a:cubicBezTo>
                  <a:pt x="283231" y="195263"/>
                  <a:pt x="285390" y="197445"/>
                  <a:pt x="285390" y="199626"/>
                </a:cubicBezTo>
                <a:lnTo>
                  <a:pt x="285390" y="255623"/>
                </a:lnTo>
                <a:cubicBezTo>
                  <a:pt x="285390" y="257805"/>
                  <a:pt x="283231" y="259986"/>
                  <a:pt x="281071" y="259986"/>
                </a:cubicBezTo>
                <a:lnTo>
                  <a:pt x="166245" y="259986"/>
                </a:lnTo>
                <a:cubicBezTo>
                  <a:pt x="163725" y="259986"/>
                  <a:pt x="161925" y="257805"/>
                  <a:pt x="161925" y="255623"/>
                </a:cubicBezTo>
                <a:cubicBezTo>
                  <a:pt x="161925" y="253078"/>
                  <a:pt x="163725" y="250896"/>
                  <a:pt x="166245" y="250896"/>
                </a:cubicBezTo>
                <a:lnTo>
                  <a:pt x="276751" y="250896"/>
                </a:lnTo>
                <a:lnTo>
                  <a:pt x="276751" y="203990"/>
                </a:lnTo>
                <a:lnTo>
                  <a:pt x="166245" y="203990"/>
                </a:lnTo>
                <a:cubicBezTo>
                  <a:pt x="163725" y="203990"/>
                  <a:pt x="161925" y="202172"/>
                  <a:pt x="161925" y="199626"/>
                </a:cubicBezTo>
                <a:cubicBezTo>
                  <a:pt x="161925" y="197445"/>
                  <a:pt x="163725" y="195263"/>
                  <a:pt x="166245" y="195263"/>
                </a:cubicBezTo>
                <a:close/>
                <a:moveTo>
                  <a:pt x="4319" y="195263"/>
                </a:moveTo>
                <a:lnTo>
                  <a:pt x="119145" y="195263"/>
                </a:lnTo>
                <a:cubicBezTo>
                  <a:pt x="121666" y="195263"/>
                  <a:pt x="123465" y="197405"/>
                  <a:pt x="123465" y="199547"/>
                </a:cubicBezTo>
                <a:cubicBezTo>
                  <a:pt x="123465" y="202047"/>
                  <a:pt x="121666" y="203832"/>
                  <a:pt x="119145" y="203832"/>
                </a:cubicBezTo>
                <a:lnTo>
                  <a:pt x="8639" y="203832"/>
                </a:lnTo>
                <a:lnTo>
                  <a:pt x="8639" y="271667"/>
                </a:lnTo>
                <a:lnTo>
                  <a:pt x="42115" y="250602"/>
                </a:lnTo>
                <a:cubicBezTo>
                  <a:pt x="42835" y="250245"/>
                  <a:pt x="43914" y="249888"/>
                  <a:pt x="44634" y="249888"/>
                </a:cubicBezTo>
                <a:lnTo>
                  <a:pt x="119145" y="249888"/>
                </a:lnTo>
                <a:cubicBezTo>
                  <a:pt x="121666" y="249888"/>
                  <a:pt x="123465" y="252031"/>
                  <a:pt x="123465" y="254530"/>
                </a:cubicBezTo>
                <a:cubicBezTo>
                  <a:pt x="123465" y="256672"/>
                  <a:pt x="121666" y="258814"/>
                  <a:pt x="119145" y="258814"/>
                </a:cubicBezTo>
                <a:lnTo>
                  <a:pt x="45714" y="258814"/>
                </a:lnTo>
                <a:lnTo>
                  <a:pt x="6479" y="283092"/>
                </a:lnTo>
                <a:cubicBezTo>
                  <a:pt x="5759" y="283449"/>
                  <a:pt x="5039" y="283806"/>
                  <a:pt x="4319" y="283806"/>
                </a:cubicBezTo>
                <a:cubicBezTo>
                  <a:pt x="3599" y="283806"/>
                  <a:pt x="2879" y="283449"/>
                  <a:pt x="2159" y="283092"/>
                </a:cubicBezTo>
                <a:cubicBezTo>
                  <a:pt x="720" y="282378"/>
                  <a:pt x="0" y="280950"/>
                  <a:pt x="0" y="279165"/>
                </a:cubicBezTo>
                <a:lnTo>
                  <a:pt x="0" y="199547"/>
                </a:lnTo>
                <a:cubicBezTo>
                  <a:pt x="0" y="197405"/>
                  <a:pt x="1800" y="195263"/>
                  <a:pt x="4319" y="195263"/>
                </a:cubicBezTo>
                <a:close/>
                <a:moveTo>
                  <a:pt x="141904" y="116385"/>
                </a:moveTo>
                <a:cubicBezTo>
                  <a:pt x="134820" y="116385"/>
                  <a:pt x="129152" y="122161"/>
                  <a:pt x="129152" y="129382"/>
                </a:cubicBezTo>
                <a:cubicBezTo>
                  <a:pt x="129152" y="136602"/>
                  <a:pt x="134820" y="142378"/>
                  <a:pt x="141904" y="142378"/>
                </a:cubicBezTo>
                <a:cubicBezTo>
                  <a:pt x="148989" y="142378"/>
                  <a:pt x="154656" y="136602"/>
                  <a:pt x="154656" y="129382"/>
                </a:cubicBezTo>
                <a:cubicBezTo>
                  <a:pt x="154656" y="122161"/>
                  <a:pt x="148989" y="116385"/>
                  <a:pt x="141904" y="116385"/>
                </a:cubicBezTo>
                <a:close/>
                <a:moveTo>
                  <a:pt x="166245" y="96838"/>
                </a:moveTo>
                <a:lnTo>
                  <a:pt x="281071" y="96838"/>
                </a:lnTo>
                <a:cubicBezTo>
                  <a:pt x="283231" y="96838"/>
                  <a:pt x="285390" y="98630"/>
                  <a:pt x="285390" y="101140"/>
                </a:cubicBezTo>
                <a:lnTo>
                  <a:pt x="285390" y="181436"/>
                </a:lnTo>
                <a:cubicBezTo>
                  <a:pt x="285390" y="182870"/>
                  <a:pt x="284670" y="184304"/>
                  <a:pt x="283231" y="185021"/>
                </a:cubicBezTo>
                <a:cubicBezTo>
                  <a:pt x="282511" y="185380"/>
                  <a:pt x="281791" y="185380"/>
                  <a:pt x="281071" y="185380"/>
                </a:cubicBezTo>
                <a:cubicBezTo>
                  <a:pt x="280351" y="185380"/>
                  <a:pt x="279271" y="185380"/>
                  <a:pt x="278911" y="185021"/>
                </a:cubicBezTo>
                <a:lnTo>
                  <a:pt x="239676" y="160287"/>
                </a:lnTo>
                <a:lnTo>
                  <a:pt x="166245" y="160287"/>
                </a:lnTo>
                <a:cubicBezTo>
                  <a:pt x="163725" y="160287"/>
                  <a:pt x="161925" y="158495"/>
                  <a:pt x="161925" y="156344"/>
                </a:cubicBezTo>
                <a:cubicBezTo>
                  <a:pt x="161925" y="153834"/>
                  <a:pt x="163725" y="151684"/>
                  <a:pt x="166245" y="151684"/>
                </a:cubicBezTo>
                <a:lnTo>
                  <a:pt x="241116" y="151684"/>
                </a:lnTo>
                <a:cubicBezTo>
                  <a:pt x="241476" y="151684"/>
                  <a:pt x="242555" y="152042"/>
                  <a:pt x="242915" y="152759"/>
                </a:cubicBezTo>
                <a:lnTo>
                  <a:pt x="276751" y="173550"/>
                </a:lnTo>
                <a:lnTo>
                  <a:pt x="276751" y="105441"/>
                </a:lnTo>
                <a:lnTo>
                  <a:pt x="166245" y="105441"/>
                </a:lnTo>
                <a:cubicBezTo>
                  <a:pt x="163725" y="105441"/>
                  <a:pt x="161925" y="103649"/>
                  <a:pt x="161925" y="101140"/>
                </a:cubicBezTo>
                <a:cubicBezTo>
                  <a:pt x="161925" y="98630"/>
                  <a:pt x="163725" y="96838"/>
                  <a:pt x="166245" y="96838"/>
                </a:cubicBezTo>
                <a:close/>
                <a:moveTo>
                  <a:pt x="4319" y="96838"/>
                </a:moveTo>
                <a:lnTo>
                  <a:pt x="119145" y="96838"/>
                </a:lnTo>
                <a:cubicBezTo>
                  <a:pt x="121666" y="96838"/>
                  <a:pt x="123465" y="98622"/>
                  <a:pt x="123465" y="101119"/>
                </a:cubicBezTo>
                <a:cubicBezTo>
                  <a:pt x="123465" y="103616"/>
                  <a:pt x="121666" y="105400"/>
                  <a:pt x="119145" y="105400"/>
                </a:cubicBezTo>
                <a:lnTo>
                  <a:pt x="8639" y="105400"/>
                </a:lnTo>
                <a:lnTo>
                  <a:pt x="8639" y="151420"/>
                </a:lnTo>
                <a:lnTo>
                  <a:pt x="119145" y="151420"/>
                </a:lnTo>
                <a:cubicBezTo>
                  <a:pt x="121666" y="151420"/>
                  <a:pt x="123465" y="153560"/>
                  <a:pt x="123465" y="156057"/>
                </a:cubicBezTo>
                <a:cubicBezTo>
                  <a:pt x="123465" y="158198"/>
                  <a:pt x="121666" y="159981"/>
                  <a:pt x="119145" y="159981"/>
                </a:cubicBezTo>
                <a:lnTo>
                  <a:pt x="4319" y="159981"/>
                </a:lnTo>
                <a:cubicBezTo>
                  <a:pt x="1800" y="159981"/>
                  <a:pt x="0" y="158198"/>
                  <a:pt x="0" y="156057"/>
                </a:cubicBezTo>
                <a:lnTo>
                  <a:pt x="0" y="101119"/>
                </a:lnTo>
                <a:cubicBezTo>
                  <a:pt x="0" y="98622"/>
                  <a:pt x="1800" y="96838"/>
                  <a:pt x="4319" y="96838"/>
                </a:cubicBezTo>
                <a:close/>
                <a:moveTo>
                  <a:pt x="141904" y="18550"/>
                </a:moveTo>
                <a:cubicBezTo>
                  <a:pt x="134820" y="18550"/>
                  <a:pt x="129152" y="23966"/>
                  <a:pt x="129152" y="31186"/>
                </a:cubicBezTo>
                <a:cubicBezTo>
                  <a:pt x="129152" y="38406"/>
                  <a:pt x="134820" y="44182"/>
                  <a:pt x="141904" y="44182"/>
                </a:cubicBezTo>
                <a:cubicBezTo>
                  <a:pt x="148989" y="44182"/>
                  <a:pt x="154656" y="38406"/>
                  <a:pt x="154656" y="31186"/>
                </a:cubicBezTo>
                <a:cubicBezTo>
                  <a:pt x="154656" y="23966"/>
                  <a:pt x="148989" y="18550"/>
                  <a:pt x="141904" y="18550"/>
                </a:cubicBezTo>
                <a:close/>
                <a:moveTo>
                  <a:pt x="141904" y="9525"/>
                </a:moveTo>
                <a:cubicBezTo>
                  <a:pt x="153594" y="9525"/>
                  <a:pt x="163158" y="19272"/>
                  <a:pt x="163158" y="31186"/>
                </a:cubicBezTo>
                <a:cubicBezTo>
                  <a:pt x="163158" y="41655"/>
                  <a:pt x="156073" y="50681"/>
                  <a:pt x="146155" y="52486"/>
                </a:cubicBezTo>
                <a:lnTo>
                  <a:pt x="146155" y="108082"/>
                </a:lnTo>
                <a:cubicBezTo>
                  <a:pt x="156073" y="110248"/>
                  <a:pt x="163158" y="118912"/>
                  <a:pt x="163158" y="129382"/>
                </a:cubicBezTo>
                <a:cubicBezTo>
                  <a:pt x="163158" y="139490"/>
                  <a:pt x="156073" y="148154"/>
                  <a:pt x="146155" y="150320"/>
                </a:cubicBezTo>
                <a:lnTo>
                  <a:pt x="146155" y="205916"/>
                </a:lnTo>
                <a:cubicBezTo>
                  <a:pt x="156073" y="208083"/>
                  <a:pt x="163158" y="216747"/>
                  <a:pt x="163158" y="227216"/>
                </a:cubicBezTo>
                <a:cubicBezTo>
                  <a:pt x="163158" y="239130"/>
                  <a:pt x="153594" y="248877"/>
                  <a:pt x="141904" y="248877"/>
                </a:cubicBezTo>
                <a:cubicBezTo>
                  <a:pt x="130214" y="248877"/>
                  <a:pt x="120650" y="239130"/>
                  <a:pt x="120650" y="227216"/>
                </a:cubicBezTo>
                <a:cubicBezTo>
                  <a:pt x="120650" y="216747"/>
                  <a:pt x="128089" y="208083"/>
                  <a:pt x="137653" y="205916"/>
                </a:cubicBezTo>
                <a:lnTo>
                  <a:pt x="137653" y="150320"/>
                </a:lnTo>
                <a:cubicBezTo>
                  <a:pt x="128089" y="148154"/>
                  <a:pt x="120650" y="139490"/>
                  <a:pt x="120650" y="129382"/>
                </a:cubicBezTo>
                <a:cubicBezTo>
                  <a:pt x="120650" y="118912"/>
                  <a:pt x="128089" y="110248"/>
                  <a:pt x="137653" y="108082"/>
                </a:cubicBezTo>
                <a:lnTo>
                  <a:pt x="137653" y="52486"/>
                </a:lnTo>
                <a:cubicBezTo>
                  <a:pt x="128089" y="50681"/>
                  <a:pt x="120650" y="41655"/>
                  <a:pt x="120650" y="31186"/>
                </a:cubicBezTo>
                <a:cubicBezTo>
                  <a:pt x="120650" y="19272"/>
                  <a:pt x="130214" y="9525"/>
                  <a:pt x="141904" y="9525"/>
                </a:cubicBezTo>
                <a:close/>
                <a:moveTo>
                  <a:pt x="166245" y="0"/>
                </a:moveTo>
                <a:lnTo>
                  <a:pt x="281071" y="0"/>
                </a:lnTo>
                <a:cubicBezTo>
                  <a:pt x="283231" y="0"/>
                  <a:pt x="285390" y="1784"/>
                  <a:pt x="285390" y="3924"/>
                </a:cubicBezTo>
                <a:lnTo>
                  <a:pt x="285390" y="58862"/>
                </a:lnTo>
                <a:cubicBezTo>
                  <a:pt x="285390" y="61360"/>
                  <a:pt x="283231" y="63143"/>
                  <a:pt x="281071" y="63143"/>
                </a:cubicBezTo>
                <a:lnTo>
                  <a:pt x="166245" y="63143"/>
                </a:lnTo>
                <a:cubicBezTo>
                  <a:pt x="163725" y="63143"/>
                  <a:pt x="161925" y="61360"/>
                  <a:pt x="161925" y="58862"/>
                </a:cubicBezTo>
                <a:cubicBezTo>
                  <a:pt x="161925" y="56722"/>
                  <a:pt x="163725" y="54938"/>
                  <a:pt x="166245" y="54938"/>
                </a:cubicBezTo>
                <a:lnTo>
                  <a:pt x="276751" y="54938"/>
                </a:lnTo>
                <a:lnTo>
                  <a:pt x="276751" y="8562"/>
                </a:lnTo>
                <a:lnTo>
                  <a:pt x="166245" y="8562"/>
                </a:lnTo>
                <a:cubicBezTo>
                  <a:pt x="163725" y="8562"/>
                  <a:pt x="161925" y="6421"/>
                  <a:pt x="161925" y="3924"/>
                </a:cubicBezTo>
                <a:cubicBezTo>
                  <a:pt x="161925" y="1784"/>
                  <a:pt x="163725" y="0"/>
                  <a:pt x="166245" y="0"/>
                </a:cubicBezTo>
                <a:close/>
                <a:moveTo>
                  <a:pt x="4319" y="0"/>
                </a:moveTo>
                <a:lnTo>
                  <a:pt x="119145" y="0"/>
                </a:lnTo>
                <a:cubicBezTo>
                  <a:pt x="121666" y="0"/>
                  <a:pt x="123465" y="1792"/>
                  <a:pt x="123465" y="3943"/>
                </a:cubicBezTo>
                <a:cubicBezTo>
                  <a:pt x="123465" y="6452"/>
                  <a:pt x="121666" y="8603"/>
                  <a:pt x="119145" y="8603"/>
                </a:cubicBezTo>
                <a:lnTo>
                  <a:pt x="8639" y="8603"/>
                </a:lnTo>
                <a:lnTo>
                  <a:pt x="8639" y="76712"/>
                </a:lnTo>
                <a:lnTo>
                  <a:pt x="42115" y="55563"/>
                </a:lnTo>
                <a:cubicBezTo>
                  <a:pt x="42835" y="55204"/>
                  <a:pt x="43914" y="55204"/>
                  <a:pt x="44634" y="55204"/>
                </a:cubicBezTo>
                <a:lnTo>
                  <a:pt x="119145" y="55204"/>
                </a:lnTo>
                <a:cubicBezTo>
                  <a:pt x="121666" y="55204"/>
                  <a:pt x="123465" y="56996"/>
                  <a:pt x="123465" y="59147"/>
                </a:cubicBezTo>
                <a:cubicBezTo>
                  <a:pt x="123465" y="61657"/>
                  <a:pt x="121666" y="63449"/>
                  <a:pt x="119145" y="63449"/>
                </a:cubicBezTo>
                <a:lnTo>
                  <a:pt x="45714" y="63449"/>
                </a:lnTo>
                <a:lnTo>
                  <a:pt x="6479" y="87825"/>
                </a:lnTo>
                <a:cubicBezTo>
                  <a:pt x="5759" y="88183"/>
                  <a:pt x="5039" y="88542"/>
                  <a:pt x="4319" y="88542"/>
                </a:cubicBezTo>
                <a:cubicBezTo>
                  <a:pt x="3599" y="88542"/>
                  <a:pt x="2879" y="88183"/>
                  <a:pt x="2159" y="88183"/>
                </a:cubicBezTo>
                <a:cubicBezTo>
                  <a:pt x="720" y="87108"/>
                  <a:pt x="0" y="85674"/>
                  <a:pt x="0" y="84240"/>
                </a:cubicBezTo>
                <a:lnTo>
                  <a:pt x="0" y="3943"/>
                </a:lnTo>
                <a:cubicBezTo>
                  <a:pt x="0" y="1792"/>
                  <a:pt x="1800" y="0"/>
                  <a:pt x="4319" y="0"/>
                </a:cubicBezTo>
                <a:close/>
              </a:path>
            </a:pathLst>
          </a:custGeom>
          <a:solidFill>
            <a:schemeClr val="bg1"/>
          </a:solidFill>
          <a:ln>
            <a:noFill/>
          </a:ln>
        </p:spPr>
        <p:txBody>
          <a:bodyPr anchor="ctr"/>
          <a:lstStyle/>
          <a:p>
            <a:endParaRPr lang="en-GB" sz="1600" dirty="0"/>
          </a:p>
        </p:txBody>
      </p:sp>
      <p:sp>
        <p:nvSpPr>
          <p:cNvPr id="48" name="Oval 15">
            <a:extLst>
              <a:ext uri="{FF2B5EF4-FFF2-40B4-BE49-F238E27FC236}">
                <a16:creationId xmlns:a16="http://schemas.microsoft.com/office/drawing/2014/main" xmlns="" id="{F8841DF6-E419-4E6A-A29B-98DFC9605C1F}"/>
              </a:ext>
            </a:extLst>
          </p:cNvPr>
          <p:cNvSpPr/>
          <p:nvPr/>
        </p:nvSpPr>
        <p:spPr>
          <a:xfrm>
            <a:off x="7951313" y="3267529"/>
            <a:ext cx="968519" cy="9685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9" name="Freeform 282">
            <a:extLst>
              <a:ext uri="{FF2B5EF4-FFF2-40B4-BE49-F238E27FC236}">
                <a16:creationId xmlns:a16="http://schemas.microsoft.com/office/drawing/2014/main" xmlns="" id="{50A92525-86A1-40EA-826E-8D9D1ECA95DB}"/>
              </a:ext>
            </a:extLst>
          </p:cNvPr>
          <p:cNvSpPr>
            <a:spLocks noChangeAspect="1"/>
          </p:cNvSpPr>
          <p:nvPr/>
        </p:nvSpPr>
        <p:spPr bwMode="auto">
          <a:xfrm>
            <a:off x="8231927" y="3546256"/>
            <a:ext cx="407291" cy="411064"/>
          </a:xfrm>
          <a:custGeom>
            <a:avLst/>
            <a:gdLst>
              <a:gd name="T0" fmla="*/ 2147483646 w 791"/>
              <a:gd name="T1" fmla="*/ 2147483646 h 792"/>
              <a:gd name="T2" fmla="*/ 2147483646 w 791"/>
              <a:gd name="T3" fmla="*/ 2147483646 h 792"/>
              <a:gd name="T4" fmla="*/ 2147483646 w 791"/>
              <a:gd name="T5" fmla="*/ 2147483646 h 792"/>
              <a:gd name="T6" fmla="*/ 2147483646 w 791"/>
              <a:gd name="T7" fmla="*/ 2147483646 h 792"/>
              <a:gd name="T8" fmla="*/ 2147483646 w 791"/>
              <a:gd name="T9" fmla="*/ 2147483646 h 792"/>
              <a:gd name="T10" fmla="*/ 2147483646 w 791"/>
              <a:gd name="T11" fmla="*/ 2147483646 h 792"/>
              <a:gd name="T12" fmla="*/ 2147483646 w 791"/>
              <a:gd name="T13" fmla="*/ 2147483646 h 792"/>
              <a:gd name="T14" fmla="*/ 2147483646 w 791"/>
              <a:gd name="T15" fmla="*/ 2147483646 h 792"/>
              <a:gd name="T16" fmla="*/ 2147483646 w 791"/>
              <a:gd name="T17" fmla="*/ 2147483646 h 792"/>
              <a:gd name="T18" fmla="*/ 2147483646 w 791"/>
              <a:gd name="T19" fmla="*/ 2147483646 h 792"/>
              <a:gd name="T20" fmla="*/ 2147483646 w 791"/>
              <a:gd name="T21" fmla="*/ 2147483646 h 792"/>
              <a:gd name="T22" fmla="*/ 2147483646 w 791"/>
              <a:gd name="T23" fmla="*/ 2147483646 h 792"/>
              <a:gd name="T24" fmla="*/ 2147483646 w 791"/>
              <a:gd name="T25" fmla="*/ 2147483646 h 792"/>
              <a:gd name="T26" fmla="*/ 2147483646 w 791"/>
              <a:gd name="T27" fmla="*/ 2147483646 h 792"/>
              <a:gd name="T28" fmla="*/ 2147483646 w 791"/>
              <a:gd name="T29" fmla="*/ 2147483646 h 792"/>
              <a:gd name="T30" fmla="*/ 2147483646 w 791"/>
              <a:gd name="T31" fmla="*/ 2147483646 h 792"/>
              <a:gd name="T32" fmla="*/ 2147483646 w 791"/>
              <a:gd name="T33" fmla="*/ 2147483646 h 792"/>
              <a:gd name="T34" fmla="*/ 2147483646 w 791"/>
              <a:gd name="T35" fmla="*/ 2147483646 h 792"/>
              <a:gd name="T36" fmla="*/ 2147483646 w 791"/>
              <a:gd name="T37" fmla="*/ 2147483646 h 792"/>
              <a:gd name="T38" fmla="*/ 2147483646 w 791"/>
              <a:gd name="T39" fmla="*/ 2147483646 h 792"/>
              <a:gd name="T40" fmla="*/ 2147483646 w 791"/>
              <a:gd name="T41" fmla="*/ 2147483646 h 792"/>
              <a:gd name="T42" fmla="*/ 2147483646 w 791"/>
              <a:gd name="T43" fmla="*/ 2147483646 h 792"/>
              <a:gd name="T44" fmla="*/ 2147483646 w 791"/>
              <a:gd name="T45" fmla="*/ 2147483646 h 792"/>
              <a:gd name="T46" fmla="*/ 2147483646 w 791"/>
              <a:gd name="T47" fmla="*/ 2147483646 h 792"/>
              <a:gd name="T48" fmla="*/ 2147483646 w 791"/>
              <a:gd name="T49" fmla="*/ 2147483646 h 792"/>
              <a:gd name="T50" fmla="*/ 2147483646 w 791"/>
              <a:gd name="T51" fmla="*/ 2147483646 h 792"/>
              <a:gd name="T52" fmla="*/ 2147483646 w 791"/>
              <a:gd name="T53" fmla="*/ 2147483646 h 792"/>
              <a:gd name="T54" fmla="*/ 2147483646 w 791"/>
              <a:gd name="T55" fmla="*/ 2147483646 h 792"/>
              <a:gd name="T56" fmla="*/ 2147483646 w 791"/>
              <a:gd name="T57" fmla="*/ 2147483646 h 792"/>
              <a:gd name="T58" fmla="*/ 2147483646 w 791"/>
              <a:gd name="T59" fmla="*/ 2147483646 h 792"/>
              <a:gd name="T60" fmla="*/ 2147483646 w 791"/>
              <a:gd name="T61" fmla="*/ 2147483646 h 792"/>
              <a:gd name="T62" fmla="*/ 2147483646 w 791"/>
              <a:gd name="T63" fmla="*/ 2147483646 h 792"/>
              <a:gd name="T64" fmla="*/ 2147483646 w 791"/>
              <a:gd name="T65" fmla="*/ 2147483646 h 792"/>
              <a:gd name="T66" fmla="*/ 2147483646 w 791"/>
              <a:gd name="T67" fmla="*/ 2147483646 h 792"/>
              <a:gd name="T68" fmla="*/ 2147483646 w 791"/>
              <a:gd name="T69" fmla="*/ 2147483646 h 792"/>
              <a:gd name="T70" fmla="*/ 2147483646 w 791"/>
              <a:gd name="T71" fmla="*/ 2147483646 h 792"/>
              <a:gd name="T72" fmla="*/ 2147483646 w 791"/>
              <a:gd name="T73" fmla="*/ 2147483646 h 792"/>
              <a:gd name="T74" fmla="*/ 2147483646 w 791"/>
              <a:gd name="T75" fmla="*/ 2147483646 h 792"/>
              <a:gd name="T76" fmla="*/ 0 w 791"/>
              <a:gd name="T77" fmla="*/ 2147483646 h 792"/>
              <a:gd name="T78" fmla="*/ 2147483646 w 791"/>
              <a:gd name="T79" fmla="*/ 2147483646 h 792"/>
              <a:gd name="T80" fmla="*/ 2147483646 w 791"/>
              <a:gd name="T81" fmla="*/ 2147483646 h 792"/>
              <a:gd name="T82" fmla="*/ 2147483646 w 791"/>
              <a:gd name="T83" fmla="*/ 2147483646 h 792"/>
              <a:gd name="T84" fmla="*/ 2147483646 w 791"/>
              <a:gd name="T85" fmla="*/ 2147483646 h 7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1" h="792">
                <a:moveTo>
                  <a:pt x="766" y="767"/>
                </a:moveTo>
                <a:lnTo>
                  <a:pt x="24" y="767"/>
                </a:lnTo>
                <a:lnTo>
                  <a:pt x="24" y="535"/>
                </a:lnTo>
                <a:lnTo>
                  <a:pt x="97" y="657"/>
                </a:lnTo>
                <a:cubicBezTo>
                  <a:pt x="100" y="660"/>
                  <a:pt x="104" y="663"/>
                  <a:pt x="108" y="663"/>
                </a:cubicBezTo>
                <a:lnTo>
                  <a:pt x="682" y="663"/>
                </a:lnTo>
                <a:cubicBezTo>
                  <a:pt x="687" y="663"/>
                  <a:pt x="690" y="660"/>
                  <a:pt x="692" y="657"/>
                </a:cubicBezTo>
                <a:lnTo>
                  <a:pt x="766" y="535"/>
                </a:lnTo>
                <a:lnTo>
                  <a:pt x="766" y="767"/>
                </a:lnTo>
                <a:close/>
                <a:moveTo>
                  <a:pt x="757" y="503"/>
                </a:moveTo>
                <a:lnTo>
                  <a:pt x="675" y="639"/>
                </a:lnTo>
                <a:lnTo>
                  <a:pt x="114" y="639"/>
                </a:lnTo>
                <a:lnTo>
                  <a:pt x="33" y="503"/>
                </a:lnTo>
                <a:lnTo>
                  <a:pt x="757" y="503"/>
                </a:lnTo>
                <a:close/>
                <a:moveTo>
                  <a:pt x="144" y="390"/>
                </a:moveTo>
                <a:lnTo>
                  <a:pt x="144" y="480"/>
                </a:lnTo>
                <a:lnTo>
                  <a:pt x="43" y="480"/>
                </a:lnTo>
                <a:lnTo>
                  <a:pt x="144" y="390"/>
                </a:lnTo>
                <a:close/>
                <a:moveTo>
                  <a:pt x="168" y="376"/>
                </a:moveTo>
                <a:lnTo>
                  <a:pt x="264" y="376"/>
                </a:lnTo>
                <a:lnTo>
                  <a:pt x="264" y="427"/>
                </a:lnTo>
                <a:cubicBezTo>
                  <a:pt x="264" y="434"/>
                  <a:pt x="269" y="440"/>
                  <a:pt x="275" y="440"/>
                </a:cubicBezTo>
                <a:cubicBezTo>
                  <a:pt x="282" y="440"/>
                  <a:pt x="287" y="434"/>
                  <a:pt x="287" y="427"/>
                </a:cubicBezTo>
                <a:lnTo>
                  <a:pt x="287" y="252"/>
                </a:lnTo>
                <a:cubicBezTo>
                  <a:pt x="287" y="245"/>
                  <a:pt x="282" y="240"/>
                  <a:pt x="275" y="240"/>
                </a:cubicBezTo>
                <a:lnTo>
                  <a:pt x="184" y="240"/>
                </a:lnTo>
                <a:lnTo>
                  <a:pt x="395" y="30"/>
                </a:lnTo>
                <a:lnTo>
                  <a:pt x="605" y="240"/>
                </a:lnTo>
                <a:lnTo>
                  <a:pt x="514" y="240"/>
                </a:lnTo>
                <a:cubicBezTo>
                  <a:pt x="508" y="240"/>
                  <a:pt x="503" y="245"/>
                  <a:pt x="503" y="252"/>
                </a:cubicBezTo>
                <a:lnTo>
                  <a:pt x="503" y="427"/>
                </a:lnTo>
                <a:cubicBezTo>
                  <a:pt x="503" y="434"/>
                  <a:pt x="508" y="440"/>
                  <a:pt x="514" y="440"/>
                </a:cubicBezTo>
                <a:cubicBezTo>
                  <a:pt x="521" y="440"/>
                  <a:pt x="527" y="434"/>
                  <a:pt x="527" y="427"/>
                </a:cubicBezTo>
                <a:lnTo>
                  <a:pt x="527" y="376"/>
                </a:lnTo>
                <a:lnTo>
                  <a:pt x="622" y="376"/>
                </a:lnTo>
                <a:lnTo>
                  <a:pt x="622" y="480"/>
                </a:lnTo>
                <a:lnTo>
                  <a:pt x="168" y="480"/>
                </a:lnTo>
                <a:lnTo>
                  <a:pt x="168" y="376"/>
                </a:lnTo>
                <a:close/>
                <a:moveTo>
                  <a:pt x="647" y="390"/>
                </a:moveTo>
                <a:lnTo>
                  <a:pt x="746" y="480"/>
                </a:lnTo>
                <a:lnTo>
                  <a:pt x="647" y="480"/>
                </a:lnTo>
                <a:lnTo>
                  <a:pt x="647" y="390"/>
                </a:lnTo>
                <a:close/>
                <a:moveTo>
                  <a:pt x="786" y="483"/>
                </a:moveTo>
                <a:lnTo>
                  <a:pt x="642" y="355"/>
                </a:lnTo>
                <a:cubicBezTo>
                  <a:pt x="640" y="353"/>
                  <a:pt x="637" y="352"/>
                  <a:pt x="634" y="352"/>
                </a:cubicBezTo>
                <a:lnTo>
                  <a:pt x="527" y="352"/>
                </a:lnTo>
                <a:lnTo>
                  <a:pt x="527" y="264"/>
                </a:lnTo>
                <a:lnTo>
                  <a:pt x="634" y="264"/>
                </a:lnTo>
                <a:cubicBezTo>
                  <a:pt x="639" y="264"/>
                  <a:pt x="644" y="261"/>
                  <a:pt x="645" y="256"/>
                </a:cubicBezTo>
                <a:cubicBezTo>
                  <a:pt x="647" y="252"/>
                  <a:pt x="646" y="247"/>
                  <a:pt x="643" y="243"/>
                </a:cubicBezTo>
                <a:lnTo>
                  <a:pt x="403" y="5"/>
                </a:lnTo>
                <a:cubicBezTo>
                  <a:pt x="399" y="0"/>
                  <a:pt x="391" y="0"/>
                  <a:pt x="386" y="5"/>
                </a:cubicBezTo>
                <a:lnTo>
                  <a:pt x="147" y="243"/>
                </a:lnTo>
                <a:cubicBezTo>
                  <a:pt x="144" y="247"/>
                  <a:pt x="143" y="252"/>
                  <a:pt x="144" y="256"/>
                </a:cubicBezTo>
                <a:cubicBezTo>
                  <a:pt x="147" y="261"/>
                  <a:pt x="151" y="264"/>
                  <a:pt x="155" y="264"/>
                </a:cubicBezTo>
                <a:lnTo>
                  <a:pt x="264" y="264"/>
                </a:lnTo>
                <a:lnTo>
                  <a:pt x="264" y="352"/>
                </a:lnTo>
                <a:lnTo>
                  <a:pt x="155" y="352"/>
                </a:lnTo>
                <a:cubicBezTo>
                  <a:pt x="153" y="352"/>
                  <a:pt x="150" y="353"/>
                  <a:pt x="148" y="355"/>
                </a:cubicBezTo>
                <a:lnTo>
                  <a:pt x="4" y="483"/>
                </a:lnTo>
                <a:cubicBezTo>
                  <a:pt x="2" y="485"/>
                  <a:pt x="0" y="488"/>
                  <a:pt x="0" y="491"/>
                </a:cubicBezTo>
                <a:lnTo>
                  <a:pt x="0" y="779"/>
                </a:lnTo>
                <a:cubicBezTo>
                  <a:pt x="0" y="785"/>
                  <a:pt x="5" y="791"/>
                  <a:pt x="12" y="791"/>
                </a:cubicBezTo>
                <a:lnTo>
                  <a:pt x="778" y="791"/>
                </a:lnTo>
                <a:cubicBezTo>
                  <a:pt x="784" y="791"/>
                  <a:pt x="790" y="785"/>
                  <a:pt x="790" y="779"/>
                </a:cubicBezTo>
                <a:lnTo>
                  <a:pt x="790" y="491"/>
                </a:lnTo>
                <a:cubicBezTo>
                  <a:pt x="790" y="488"/>
                  <a:pt x="789" y="485"/>
                  <a:pt x="786" y="483"/>
                </a:cubicBezTo>
                <a:close/>
              </a:path>
            </a:pathLst>
          </a:custGeom>
          <a:solidFill>
            <a:schemeClr val="bg1"/>
          </a:solidFill>
          <a:ln>
            <a:noFill/>
          </a:ln>
        </p:spPr>
        <p:txBody>
          <a:bodyPr wrap="none" anchor="ctr"/>
          <a:lstStyle/>
          <a:p>
            <a:endParaRPr lang="en-GB" sz="1600" dirty="0"/>
          </a:p>
        </p:txBody>
      </p:sp>
      <p:sp>
        <p:nvSpPr>
          <p:cNvPr id="50" name="Oval 11">
            <a:extLst>
              <a:ext uri="{FF2B5EF4-FFF2-40B4-BE49-F238E27FC236}">
                <a16:creationId xmlns:a16="http://schemas.microsoft.com/office/drawing/2014/main" xmlns="" id="{0E7235BF-4B45-439B-B230-26D0F9055693}"/>
              </a:ext>
            </a:extLst>
          </p:cNvPr>
          <p:cNvSpPr/>
          <p:nvPr/>
        </p:nvSpPr>
        <p:spPr>
          <a:xfrm>
            <a:off x="6666140" y="2241926"/>
            <a:ext cx="968519" cy="9685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51" name="Freeform 954">
            <a:extLst>
              <a:ext uri="{FF2B5EF4-FFF2-40B4-BE49-F238E27FC236}">
                <a16:creationId xmlns:a16="http://schemas.microsoft.com/office/drawing/2014/main" xmlns="" id="{437B0A34-5B92-4B02-AB25-5D7C3FCDEDA4}"/>
              </a:ext>
            </a:extLst>
          </p:cNvPr>
          <p:cNvSpPr>
            <a:spLocks noChangeAspect="1"/>
          </p:cNvSpPr>
          <p:nvPr/>
        </p:nvSpPr>
        <p:spPr bwMode="auto">
          <a:xfrm>
            <a:off x="6946125" y="2521911"/>
            <a:ext cx="408548" cy="408548"/>
          </a:xfrm>
          <a:custGeom>
            <a:avLst/>
            <a:gdLst>
              <a:gd name="T0" fmla="*/ 2453975 w 283805"/>
              <a:gd name="T1" fmla="*/ 8432546 h 283804"/>
              <a:gd name="T2" fmla="*/ 4424983 w 283805"/>
              <a:gd name="T3" fmla="*/ 6448347 h 283804"/>
              <a:gd name="T4" fmla="*/ 4790451 w 283805"/>
              <a:gd name="T5" fmla="*/ 6813900 h 283804"/>
              <a:gd name="T6" fmla="*/ 10155741 w 283805"/>
              <a:gd name="T7" fmla="*/ 4960701 h 283804"/>
              <a:gd name="T8" fmla="*/ 6212717 w 283805"/>
              <a:gd name="T9" fmla="*/ 5237155 h 283804"/>
              <a:gd name="T10" fmla="*/ 5978320 w 283805"/>
              <a:gd name="T11" fmla="*/ 3015310 h 283804"/>
              <a:gd name="T12" fmla="*/ 6356860 w 283805"/>
              <a:gd name="T13" fmla="*/ 3380870 h 283804"/>
              <a:gd name="T14" fmla="*/ 4617686 w 283805"/>
              <a:gd name="T15" fmla="*/ 2711152 h 283804"/>
              <a:gd name="T16" fmla="*/ 1598931 w 283805"/>
              <a:gd name="T17" fmla="*/ 3043324 h 283804"/>
              <a:gd name="T18" fmla="*/ 3259251 w 283805"/>
              <a:gd name="T19" fmla="*/ 1672744 h 283804"/>
              <a:gd name="T20" fmla="*/ 5885836 w 283805"/>
              <a:gd name="T21" fmla="*/ 1949182 h 283804"/>
              <a:gd name="T22" fmla="*/ 3259251 w 283805"/>
              <a:gd name="T23" fmla="*/ 1672744 h 283804"/>
              <a:gd name="T24" fmla="*/ 2582739 w 283805"/>
              <a:gd name="T25" fmla="*/ 1805027 h 283804"/>
              <a:gd name="T26" fmla="*/ 1441996 w 283805"/>
              <a:gd name="T27" fmla="*/ 1805027 h 283804"/>
              <a:gd name="T28" fmla="*/ 7492411 w 283805"/>
              <a:gd name="T29" fmla="*/ 1292257 h 283804"/>
              <a:gd name="T30" fmla="*/ 7857921 w 283805"/>
              <a:gd name="T31" fmla="*/ 926706 h 283804"/>
              <a:gd name="T32" fmla="*/ 6043633 w 283805"/>
              <a:gd name="T33" fmla="*/ 721020 h 283804"/>
              <a:gd name="T34" fmla="*/ 4441470 w 283805"/>
              <a:gd name="T35" fmla="*/ 721020 h 283804"/>
              <a:gd name="T36" fmla="*/ 3750821 w 283805"/>
              <a:gd name="T37" fmla="*/ 576793 h 283804"/>
              <a:gd name="T38" fmla="*/ 1600421 w 283805"/>
              <a:gd name="T39" fmla="*/ 853275 h 283804"/>
              <a:gd name="T40" fmla="*/ 783087 w 283805"/>
              <a:gd name="T41" fmla="*/ 0 h 283804"/>
              <a:gd name="T42" fmla="*/ 1788215 w 283805"/>
              <a:gd name="T43" fmla="*/ 7910345 h 283804"/>
              <a:gd name="T44" fmla="*/ 3798455 w 283805"/>
              <a:gd name="T45" fmla="*/ 7035783 h 283804"/>
              <a:gd name="T46" fmla="*/ 4555514 w 283805"/>
              <a:gd name="T47" fmla="*/ 6161185 h 283804"/>
              <a:gd name="T48" fmla="*/ 1461977 w 283805"/>
              <a:gd name="T49" fmla="*/ 5156126 h 283804"/>
              <a:gd name="T50" fmla="*/ 5573661 w 283805"/>
              <a:gd name="T51" fmla="*/ 3916089 h 283804"/>
              <a:gd name="T52" fmla="*/ 6304617 w 283805"/>
              <a:gd name="T53" fmla="*/ 2780361 h 283804"/>
              <a:gd name="T54" fmla="*/ 7857921 w 283805"/>
              <a:gd name="T55" fmla="*/ 613396 h 283804"/>
              <a:gd name="T56" fmla="*/ 9476480 w 283805"/>
              <a:gd name="T57" fmla="*/ 900592 h 283804"/>
              <a:gd name="T58" fmla="*/ 9476480 w 283805"/>
              <a:gd name="T59" fmla="*/ 1448980 h 283804"/>
              <a:gd name="T60" fmla="*/ 7544668 w 283805"/>
              <a:gd name="T61" fmla="*/ 1879746 h 283804"/>
              <a:gd name="T62" fmla="*/ 5978320 w 283805"/>
              <a:gd name="T63" fmla="*/ 4046520 h 283804"/>
              <a:gd name="T64" fmla="*/ 5103711 w 283805"/>
              <a:gd name="T65" fmla="*/ 6813900 h 283804"/>
              <a:gd name="T66" fmla="*/ 3080486 w 283805"/>
              <a:gd name="T67" fmla="*/ 7845063 h 283804"/>
              <a:gd name="T68" fmla="*/ 1788215 w 283805"/>
              <a:gd name="T69" fmla="*/ 8223643 h 283804"/>
              <a:gd name="T70" fmla="*/ 10155248 w 283805"/>
              <a:gd name="T71" fmla="*/ 9372340 h 283804"/>
              <a:gd name="T72" fmla="*/ 9685340 w 283805"/>
              <a:gd name="T73" fmla="*/ 9685614 h 283804"/>
              <a:gd name="T74" fmla="*/ 9372041 w 283805"/>
              <a:gd name="T75" fmla="*/ 10155567 h 283804"/>
              <a:gd name="T76" fmla="*/ 8223396 w 283805"/>
              <a:gd name="T77" fmla="*/ 10155567 h 283804"/>
              <a:gd name="T78" fmla="*/ 7910137 w 283805"/>
              <a:gd name="T79" fmla="*/ 9685614 h 283804"/>
              <a:gd name="T80" fmla="*/ 6617899 w 283805"/>
              <a:gd name="T81" fmla="*/ 10312174 h 283804"/>
              <a:gd name="T82" fmla="*/ 5312575 w 283805"/>
              <a:gd name="T83" fmla="*/ 9685614 h 283804"/>
              <a:gd name="T84" fmla="*/ 4999317 w 283805"/>
              <a:gd name="T85" fmla="*/ 10155567 h 283804"/>
              <a:gd name="T86" fmla="*/ 3850675 w 283805"/>
              <a:gd name="T87" fmla="*/ 10155567 h 283804"/>
              <a:gd name="T88" fmla="*/ 3537369 w 283805"/>
              <a:gd name="T89" fmla="*/ 9685614 h 283804"/>
              <a:gd name="T90" fmla="*/ 2245078 w 283805"/>
              <a:gd name="T91" fmla="*/ 10312174 h 283804"/>
              <a:gd name="T92" fmla="*/ 939854 w 283805"/>
              <a:gd name="T93" fmla="*/ 9685614 h 283804"/>
              <a:gd name="T94" fmla="*/ 626585 w 283805"/>
              <a:gd name="T95" fmla="*/ 10155567 h 283804"/>
              <a:gd name="T96" fmla="*/ 0 w 283805"/>
              <a:gd name="T97" fmla="*/ 9528982 h 283804"/>
              <a:gd name="T98" fmla="*/ 626585 w 283805"/>
              <a:gd name="T99" fmla="*/ 8223643 h 283804"/>
              <a:gd name="T100" fmla="*/ 156546 w 283805"/>
              <a:gd name="T101" fmla="*/ 7910345 h 283804"/>
              <a:gd name="T102" fmla="*/ 156546 w 283805"/>
              <a:gd name="T103" fmla="*/ 6774696 h 283804"/>
              <a:gd name="T104" fmla="*/ 626585 w 283805"/>
              <a:gd name="T105" fmla="*/ 6448347 h 283804"/>
              <a:gd name="T106" fmla="*/ 0 w 283805"/>
              <a:gd name="T107" fmla="*/ 5156126 h 283804"/>
              <a:gd name="T108" fmla="*/ 626585 w 283805"/>
              <a:gd name="T109" fmla="*/ 3850741 h 283804"/>
              <a:gd name="T110" fmla="*/ 156546 w 283805"/>
              <a:gd name="T111" fmla="*/ 3537476 h 283804"/>
              <a:gd name="T112" fmla="*/ 156546 w 283805"/>
              <a:gd name="T113" fmla="*/ 2388694 h 283804"/>
              <a:gd name="T114" fmla="*/ 626585 w 283805"/>
              <a:gd name="T115" fmla="*/ 2075485 h 283804"/>
              <a:gd name="T116" fmla="*/ 0 w 283805"/>
              <a:gd name="T117" fmla="*/ 783146 h 283804"/>
              <a:gd name="T118" fmla="*/ 626585 w 283805"/>
              <a:gd name="T119" fmla="*/ 156554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p:spPr>
        <p:txBody>
          <a:bodyPr anchor="ctr"/>
          <a:lstStyle/>
          <a:p>
            <a:endParaRPr lang="en-GB" sz="1600" dirty="0"/>
          </a:p>
        </p:txBody>
      </p:sp>
      <p:sp>
        <p:nvSpPr>
          <p:cNvPr id="53" name="Subtitle 2">
            <a:extLst>
              <a:ext uri="{FF2B5EF4-FFF2-40B4-BE49-F238E27FC236}">
                <a16:creationId xmlns:a16="http://schemas.microsoft.com/office/drawing/2014/main" xmlns="" id="{4E79DDAA-2D4D-447E-BBAA-883C7E0D2CC9}"/>
              </a:ext>
            </a:extLst>
          </p:cNvPr>
          <p:cNvSpPr txBox="1">
            <a:spLocks/>
          </p:cNvSpPr>
          <p:nvPr/>
        </p:nvSpPr>
        <p:spPr>
          <a:xfrm>
            <a:off x="9118295" y="2974941"/>
            <a:ext cx="1940537"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erive appropriate targets and set them for the workforce</a:t>
            </a:r>
          </a:p>
        </p:txBody>
      </p:sp>
      <p:sp>
        <p:nvSpPr>
          <p:cNvPr id="55" name="Subtitle 2">
            <a:extLst>
              <a:ext uri="{FF2B5EF4-FFF2-40B4-BE49-F238E27FC236}">
                <a16:creationId xmlns:a16="http://schemas.microsoft.com/office/drawing/2014/main" xmlns="" id="{1D5B14D5-CE68-4515-A196-24A70F7D6D21}"/>
              </a:ext>
            </a:extLst>
          </p:cNvPr>
          <p:cNvSpPr txBox="1">
            <a:spLocks/>
          </p:cNvSpPr>
          <p:nvPr/>
        </p:nvSpPr>
        <p:spPr>
          <a:xfrm>
            <a:off x="3159817" y="3617381"/>
            <a:ext cx="1940537"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o cope with the constant change requirements of the company</a:t>
            </a:r>
          </a:p>
        </p:txBody>
      </p:sp>
      <p:sp>
        <p:nvSpPr>
          <p:cNvPr id="57" name="Subtitle 2">
            <a:extLst>
              <a:ext uri="{FF2B5EF4-FFF2-40B4-BE49-F238E27FC236}">
                <a16:creationId xmlns:a16="http://schemas.microsoft.com/office/drawing/2014/main" xmlns="" id="{4D6AECCD-62E8-4EFB-94F4-3D92B0888DEE}"/>
              </a:ext>
            </a:extLst>
          </p:cNvPr>
          <p:cNvSpPr txBox="1">
            <a:spLocks/>
          </p:cNvSpPr>
          <p:nvPr/>
        </p:nvSpPr>
        <p:spPr>
          <a:xfrm>
            <a:off x="8682719" y="4951734"/>
            <a:ext cx="2856138"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o gain the necessary trust of its internal and external stakeholders</a:t>
            </a:r>
          </a:p>
        </p:txBody>
      </p:sp>
      <p:sp>
        <p:nvSpPr>
          <p:cNvPr id="59" name="Subtitle 2">
            <a:extLst>
              <a:ext uri="{FF2B5EF4-FFF2-40B4-BE49-F238E27FC236}">
                <a16:creationId xmlns:a16="http://schemas.microsoft.com/office/drawing/2014/main" xmlns="" id="{DE4507BB-C188-4784-9874-5CDBC3F09A61}"/>
              </a:ext>
            </a:extLst>
          </p:cNvPr>
          <p:cNvSpPr txBox="1">
            <a:spLocks/>
          </p:cNvSpPr>
          <p:nvPr/>
        </p:nvSpPr>
        <p:spPr>
          <a:xfrm>
            <a:off x="3638580" y="5150615"/>
            <a:ext cx="1940537"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o shape a strong corporate culture through role models and examples</a:t>
            </a: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2835378" y="1824689"/>
            <a:ext cx="2871068"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o specify and further develop the corporate mission statement in accordance with market requirements and competitive demands</a:t>
            </a:r>
          </a:p>
        </p:txBody>
      </p:sp>
    </p:spTree>
    <p:extLst>
      <p:ext uri="{BB962C8B-B14F-4D97-AF65-F5344CB8AC3E}">
        <p14:creationId xmlns:p14="http://schemas.microsoft.com/office/powerpoint/2010/main" val="4174632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C3F1630-F84C-4DBB-A92E-B4CBFC5956D4}"/>
              </a:ext>
            </a:extLst>
          </p:cNvPr>
          <p:cNvSpPr>
            <a:spLocks noGrp="1"/>
          </p:cNvSpPr>
          <p:nvPr>
            <p:ph type="body" sz="quarter" idx="11"/>
          </p:nvPr>
        </p:nvSpPr>
        <p:spPr>
          <a:xfrm>
            <a:off x="418211" y="2842770"/>
            <a:ext cx="9821959" cy="1582271"/>
          </a:xfrm>
        </p:spPr>
        <p:txBody>
          <a:bodyPr/>
          <a:lstStyle/>
          <a:p>
            <a:r>
              <a:rPr lang="en-GB" dirty="0"/>
              <a:t>Financial Restructuring</a:t>
            </a:r>
          </a:p>
        </p:txBody>
      </p:sp>
    </p:spTree>
    <p:extLst>
      <p:ext uri="{BB962C8B-B14F-4D97-AF65-F5344CB8AC3E}">
        <p14:creationId xmlns:p14="http://schemas.microsoft.com/office/powerpoint/2010/main" val="37200504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1403024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Pfeil: nach rechts 14">
            <a:extLst>
              <a:ext uri="{FF2B5EF4-FFF2-40B4-BE49-F238E27FC236}">
                <a16:creationId xmlns:a16="http://schemas.microsoft.com/office/drawing/2014/main" xmlns="" id="{526B4135-23D6-4306-8400-BB39290940B0}"/>
              </a:ext>
            </a:extLst>
          </p:cNvPr>
          <p:cNvSpPr/>
          <p:nvPr/>
        </p:nvSpPr>
        <p:spPr>
          <a:xfrm rot="17851772">
            <a:off x="5084492" y="3730887"/>
            <a:ext cx="1888305" cy="623524"/>
          </a:xfrm>
          <a:prstGeom prst="rightArrow">
            <a:avLst/>
          </a:prstGeom>
          <a:gradFill flip="none" rotWithShape="1">
            <a:gsLst>
              <a:gs pos="0">
                <a:srgbClr val="DAE3F3"/>
              </a:gs>
              <a:gs pos="33000">
                <a:srgbClr val="DAE3F3"/>
              </a:gs>
              <a:gs pos="85000">
                <a:srgbClr val="A9D18E"/>
              </a:gs>
            </a:gsLst>
            <a:lin ang="0" scaled="1"/>
            <a:tileRect/>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82495" y="821741"/>
            <a:ext cx="8852375" cy="697353"/>
          </a:xfrm>
        </p:spPr>
        <p:txBody>
          <a:bodyPr>
            <a:normAutofit/>
          </a:bodyPr>
          <a:lstStyle/>
          <a:p>
            <a:r>
              <a:rPr lang="en-GB" dirty="0"/>
              <a:t>Phases of financial restructuring</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9542" y="2016146"/>
            <a:ext cx="3078924" cy="437586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Financial Restructuring focusses on two different goals: </a:t>
            </a:r>
          </a:p>
          <a:p>
            <a:pPr marL="457200" indent="-457200" algn="l">
              <a:lnSpc>
                <a:spcPct val="100000"/>
              </a:lnSpc>
              <a:spcBef>
                <a:spcPts val="600"/>
              </a:spcBef>
              <a:buFont typeface="+mj-lt"/>
              <a:buAutoNum type="arabicPeriod"/>
            </a:pPr>
            <a:r>
              <a:rPr lang="en-GB" sz="2200" b="1" dirty="0">
                <a:solidFill>
                  <a:srgbClr val="245473"/>
                </a:solidFill>
                <a:latin typeface="+mj-lt"/>
                <a:ea typeface="Open Sans Light" panose="020B0306030504020204" pitchFamily="34" charset="0"/>
                <a:cs typeface="Open Sans Light" panose="020B0306030504020204" pitchFamily="34" charset="0"/>
              </a:rPr>
              <a:t>Operative Restructuring</a:t>
            </a:r>
            <a:r>
              <a:rPr lang="en-GB" sz="2200" dirty="0">
                <a:solidFill>
                  <a:srgbClr val="245473"/>
                </a:solidFill>
                <a:latin typeface="+mj-lt"/>
                <a:ea typeface="Open Sans Light" panose="020B0306030504020204" pitchFamily="34" charset="0"/>
                <a:cs typeface="Open Sans Light" panose="020B0306030504020204" pitchFamily="34" charset="0"/>
              </a:rPr>
              <a:t>: viable and feasible business model</a:t>
            </a:r>
          </a:p>
          <a:p>
            <a:pPr marL="457200" indent="-457200" algn="l">
              <a:lnSpc>
                <a:spcPct val="100000"/>
              </a:lnSpc>
              <a:spcBef>
                <a:spcPts val="600"/>
              </a:spcBef>
              <a:buFont typeface="+mj-lt"/>
              <a:buAutoNum type="arabicPeriod"/>
            </a:pPr>
            <a:r>
              <a:rPr lang="en-GB" sz="2200" b="1" dirty="0">
                <a:solidFill>
                  <a:srgbClr val="245473"/>
                </a:solidFill>
                <a:latin typeface="+mj-lt"/>
                <a:ea typeface="Open Sans Light" panose="020B0306030504020204" pitchFamily="34" charset="0"/>
                <a:cs typeface="Open Sans Light" panose="020B0306030504020204" pitchFamily="34" charset="0"/>
              </a:rPr>
              <a:t>Financial Restructuring</a:t>
            </a:r>
            <a:r>
              <a:rPr lang="en-GB" sz="2200" dirty="0">
                <a:solidFill>
                  <a:srgbClr val="245473"/>
                </a:solidFill>
                <a:latin typeface="+mj-lt"/>
                <a:ea typeface="Open Sans Light" panose="020B0306030504020204" pitchFamily="34" charset="0"/>
                <a:cs typeface="Open Sans Light" panose="020B0306030504020204" pitchFamily="34" charset="0"/>
              </a:rPr>
              <a:t>: yield/debt service capability</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29" name="Group 19">
            <a:extLst>
              <a:ext uri="{FF2B5EF4-FFF2-40B4-BE49-F238E27FC236}">
                <a16:creationId xmlns:a16="http://schemas.microsoft.com/office/drawing/2014/main" xmlns="" id="{C01314D7-E196-4616-9F38-F4BA4D314895}"/>
              </a:ext>
            </a:extLst>
          </p:cNvPr>
          <p:cNvGrpSpPr/>
          <p:nvPr/>
        </p:nvGrpSpPr>
        <p:grpSpPr>
          <a:xfrm flipH="1">
            <a:off x="4133807" y="3783804"/>
            <a:ext cx="1323408" cy="818094"/>
            <a:chOff x="9147968" y="5153471"/>
            <a:chExt cx="5935704" cy="3932801"/>
          </a:xfrm>
        </p:grpSpPr>
        <p:sp>
          <p:nvSpPr>
            <p:cNvPr id="30" name="Freeform 104">
              <a:extLst>
                <a:ext uri="{FF2B5EF4-FFF2-40B4-BE49-F238E27FC236}">
                  <a16:creationId xmlns:a16="http://schemas.microsoft.com/office/drawing/2014/main" xmlns="" id="{A88E5632-6724-4CC5-B3FB-CEE38EF09E12}"/>
                </a:ext>
              </a:extLst>
            </p:cNvPr>
            <p:cNvSpPr>
              <a:spLocks noEditPoints="1"/>
            </p:cNvSpPr>
            <p:nvPr/>
          </p:nvSpPr>
          <p:spPr bwMode="auto">
            <a:xfrm>
              <a:off x="9271762" y="5861311"/>
              <a:ext cx="1453771" cy="2625042"/>
            </a:xfrm>
            <a:custGeom>
              <a:avLst/>
              <a:gdLst>
                <a:gd name="T0" fmla="*/ 81 w 397"/>
                <a:gd name="T1" fmla="*/ 715 h 715"/>
                <a:gd name="T2" fmla="*/ 397 w 397"/>
                <a:gd name="T3" fmla="*/ 715 h 715"/>
                <a:gd name="T4" fmla="*/ 397 w 397"/>
                <a:gd name="T5" fmla="*/ 358 h 715"/>
                <a:gd name="T6" fmla="*/ 397 w 397"/>
                <a:gd name="T7" fmla="*/ 295 h 715"/>
                <a:gd name="T8" fmla="*/ 397 w 397"/>
                <a:gd name="T9" fmla="*/ 84 h 715"/>
                <a:gd name="T10" fmla="*/ 397 w 397"/>
                <a:gd name="T11" fmla="*/ 52 h 715"/>
                <a:gd name="T12" fmla="*/ 397 w 397"/>
                <a:gd name="T13" fmla="*/ 0 h 715"/>
                <a:gd name="T14" fmla="*/ 265 w 397"/>
                <a:gd name="T15" fmla="*/ 0 h 715"/>
                <a:gd name="T16" fmla="*/ 217 w 397"/>
                <a:gd name="T17" fmla="*/ 10 h 715"/>
                <a:gd name="T18" fmla="*/ 176 w 397"/>
                <a:gd name="T19" fmla="*/ 37 h 715"/>
                <a:gd name="T20" fmla="*/ 37 w 397"/>
                <a:gd name="T21" fmla="*/ 179 h 715"/>
                <a:gd name="T22" fmla="*/ 11 w 397"/>
                <a:gd name="T23" fmla="*/ 221 h 715"/>
                <a:gd name="T24" fmla="*/ 0 w 397"/>
                <a:gd name="T25" fmla="*/ 268 h 715"/>
                <a:gd name="T26" fmla="*/ 0 w 397"/>
                <a:gd name="T27" fmla="*/ 610 h 715"/>
                <a:gd name="T28" fmla="*/ 0 w 397"/>
                <a:gd name="T29" fmla="*/ 702 h 715"/>
                <a:gd name="T30" fmla="*/ 81 w 397"/>
                <a:gd name="T31" fmla="*/ 702 h 715"/>
                <a:gd name="T32" fmla="*/ 81 w 397"/>
                <a:gd name="T33" fmla="*/ 715 h 715"/>
                <a:gd name="T34" fmla="*/ 336 w 397"/>
                <a:gd name="T35" fmla="*/ 295 h 715"/>
                <a:gd name="T36" fmla="*/ 81 w 397"/>
                <a:gd name="T37" fmla="*/ 295 h 715"/>
                <a:gd name="T38" fmla="*/ 81 w 397"/>
                <a:gd name="T39" fmla="*/ 270 h 715"/>
                <a:gd name="T40" fmla="*/ 88 w 397"/>
                <a:gd name="T41" fmla="*/ 252 h 715"/>
                <a:gd name="T42" fmla="*/ 249 w 397"/>
                <a:gd name="T43" fmla="*/ 92 h 715"/>
                <a:gd name="T44" fmla="*/ 267 w 397"/>
                <a:gd name="T45" fmla="*/ 84 h 715"/>
                <a:gd name="T46" fmla="*/ 336 w 397"/>
                <a:gd name="T47" fmla="*/ 84 h 715"/>
                <a:gd name="T48" fmla="*/ 336 w 397"/>
                <a:gd name="T49" fmla="*/ 29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7" h="715">
                  <a:moveTo>
                    <a:pt x="81" y="715"/>
                  </a:moveTo>
                  <a:cubicBezTo>
                    <a:pt x="397" y="715"/>
                    <a:pt x="397" y="715"/>
                    <a:pt x="397" y="715"/>
                  </a:cubicBezTo>
                  <a:cubicBezTo>
                    <a:pt x="397" y="358"/>
                    <a:pt x="397" y="358"/>
                    <a:pt x="397" y="358"/>
                  </a:cubicBezTo>
                  <a:cubicBezTo>
                    <a:pt x="397" y="295"/>
                    <a:pt x="397" y="295"/>
                    <a:pt x="397" y="295"/>
                  </a:cubicBezTo>
                  <a:cubicBezTo>
                    <a:pt x="397" y="84"/>
                    <a:pt x="397" y="84"/>
                    <a:pt x="397" y="84"/>
                  </a:cubicBezTo>
                  <a:cubicBezTo>
                    <a:pt x="397" y="52"/>
                    <a:pt x="397" y="52"/>
                    <a:pt x="397" y="52"/>
                  </a:cubicBezTo>
                  <a:cubicBezTo>
                    <a:pt x="397" y="0"/>
                    <a:pt x="397" y="0"/>
                    <a:pt x="397" y="0"/>
                  </a:cubicBezTo>
                  <a:cubicBezTo>
                    <a:pt x="265" y="0"/>
                    <a:pt x="265" y="0"/>
                    <a:pt x="265" y="0"/>
                  </a:cubicBezTo>
                  <a:cubicBezTo>
                    <a:pt x="251" y="0"/>
                    <a:pt x="235" y="3"/>
                    <a:pt x="217" y="10"/>
                  </a:cubicBezTo>
                  <a:cubicBezTo>
                    <a:pt x="200" y="18"/>
                    <a:pt x="186" y="26"/>
                    <a:pt x="176" y="37"/>
                  </a:cubicBezTo>
                  <a:cubicBezTo>
                    <a:pt x="37" y="179"/>
                    <a:pt x="37" y="179"/>
                    <a:pt x="37" y="179"/>
                  </a:cubicBezTo>
                  <a:cubicBezTo>
                    <a:pt x="27" y="189"/>
                    <a:pt x="18" y="203"/>
                    <a:pt x="11" y="221"/>
                  </a:cubicBezTo>
                  <a:cubicBezTo>
                    <a:pt x="4" y="238"/>
                    <a:pt x="0" y="254"/>
                    <a:pt x="0" y="268"/>
                  </a:cubicBezTo>
                  <a:cubicBezTo>
                    <a:pt x="0" y="610"/>
                    <a:pt x="0" y="610"/>
                    <a:pt x="0" y="610"/>
                  </a:cubicBezTo>
                  <a:cubicBezTo>
                    <a:pt x="0" y="702"/>
                    <a:pt x="0" y="702"/>
                    <a:pt x="0" y="702"/>
                  </a:cubicBezTo>
                  <a:cubicBezTo>
                    <a:pt x="81" y="702"/>
                    <a:pt x="81" y="702"/>
                    <a:pt x="81" y="702"/>
                  </a:cubicBezTo>
                  <a:cubicBezTo>
                    <a:pt x="81" y="715"/>
                    <a:pt x="81" y="715"/>
                    <a:pt x="81" y="715"/>
                  </a:cubicBezTo>
                  <a:moveTo>
                    <a:pt x="336" y="295"/>
                  </a:moveTo>
                  <a:cubicBezTo>
                    <a:pt x="81" y="295"/>
                    <a:pt x="81" y="295"/>
                    <a:pt x="81" y="295"/>
                  </a:cubicBezTo>
                  <a:cubicBezTo>
                    <a:pt x="81" y="270"/>
                    <a:pt x="81" y="270"/>
                    <a:pt x="81" y="270"/>
                  </a:cubicBezTo>
                  <a:cubicBezTo>
                    <a:pt x="82" y="264"/>
                    <a:pt x="85" y="258"/>
                    <a:pt x="88" y="252"/>
                  </a:cubicBezTo>
                  <a:cubicBezTo>
                    <a:pt x="249" y="92"/>
                    <a:pt x="249" y="92"/>
                    <a:pt x="249" y="92"/>
                  </a:cubicBezTo>
                  <a:cubicBezTo>
                    <a:pt x="253" y="88"/>
                    <a:pt x="259" y="85"/>
                    <a:pt x="267" y="84"/>
                  </a:cubicBezTo>
                  <a:cubicBezTo>
                    <a:pt x="336" y="84"/>
                    <a:pt x="336" y="84"/>
                    <a:pt x="336" y="84"/>
                  </a:cubicBezTo>
                  <a:lnTo>
                    <a:pt x="336" y="295"/>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1" name="Freeform 105">
              <a:extLst>
                <a:ext uri="{FF2B5EF4-FFF2-40B4-BE49-F238E27FC236}">
                  <a16:creationId xmlns:a16="http://schemas.microsoft.com/office/drawing/2014/main" xmlns="" id="{531FB429-A8ED-42D6-ACF6-984197945835}"/>
                </a:ext>
              </a:extLst>
            </p:cNvPr>
            <p:cNvSpPr>
              <a:spLocks/>
            </p:cNvSpPr>
            <p:nvPr/>
          </p:nvSpPr>
          <p:spPr bwMode="auto">
            <a:xfrm>
              <a:off x="10719184" y="5153471"/>
              <a:ext cx="4240695" cy="3332882"/>
            </a:xfrm>
            <a:custGeom>
              <a:avLst/>
              <a:gdLst>
                <a:gd name="T0" fmla="*/ 1142 w 1157"/>
                <a:gd name="T1" fmla="*/ 16 h 908"/>
                <a:gd name="T2" fmla="*/ 1105 w 1157"/>
                <a:gd name="T3" fmla="*/ 0 h 908"/>
                <a:gd name="T4" fmla="*/ 53 w 1157"/>
                <a:gd name="T5" fmla="*/ 0 h 908"/>
                <a:gd name="T6" fmla="*/ 16 w 1157"/>
                <a:gd name="T7" fmla="*/ 16 h 908"/>
                <a:gd name="T8" fmla="*/ 0 w 1157"/>
                <a:gd name="T9" fmla="*/ 53 h 908"/>
                <a:gd name="T10" fmla="*/ 0 w 1157"/>
                <a:gd name="T11" fmla="*/ 149 h 908"/>
                <a:gd name="T12" fmla="*/ 0 w 1157"/>
                <a:gd name="T13" fmla="*/ 172 h 908"/>
                <a:gd name="T14" fmla="*/ 0 w 1157"/>
                <a:gd name="T15" fmla="*/ 277 h 908"/>
                <a:gd name="T16" fmla="*/ 0 w 1157"/>
                <a:gd name="T17" fmla="*/ 488 h 908"/>
                <a:gd name="T18" fmla="*/ 0 w 1157"/>
                <a:gd name="T19" fmla="*/ 908 h 908"/>
                <a:gd name="T20" fmla="*/ 106 w 1157"/>
                <a:gd name="T21" fmla="*/ 908 h 908"/>
                <a:gd name="T22" fmla="*/ 421 w 1157"/>
                <a:gd name="T23" fmla="*/ 908 h 908"/>
                <a:gd name="T24" fmla="*/ 947 w 1157"/>
                <a:gd name="T25" fmla="*/ 908 h 908"/>
                <a:gd name="T26" fmla="*/ 1105 w 1157"/>
                <a:gd name="T27" fmla="*/ 908 h 908"/>
                <a:gd name="T28" fmla="*/ 1142 w 1157"/>
                <a:gd name="T29" fmla="*/ 893 h 908"/>
                <a:gd name="T30" fmla="*/ 1157 w 1157"/>
                <a:gd name="T31" fmla="*/ 856 h 908"/>
                <a:gd name="T32" fmla="*/ 1157 w 1157"/>
                <a:gd name="T33" fmla="*/ 53 h 908"/>
                <a:gd name="T34" fmla="*/ 1142 w 1157"/>
                <a:gd name="T35" fmla="*/ 1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7" h="908">
                  <a:moveTo>
                    <a:pt x="1142" y="16"/>
                  </a:moveTo>
                  <a:cubicBezTo>
                    <a:pt x="1131" y="5"/>
                    <a:pt x="1119" y="0"/>
                    <a:pt x="1105" y="0"/>
                  </a:cubicBezTo>
                  <a:cubicBezTo>
                    <a:pt x="53" y="0"/>
                    <a:pt x="53" y="0"/>
                    <a:pt x="53" y="0"/>
                  </a:cubicBezTo>
                  <a:cubicBezTo>
                    <a:pt x="39" y="0"/>
                    <a:pt x="26" y="5"/>
                    <a:pt x="16" y="16"/>
                  </a:cubicBezTo>
                  <a:cubicBezTo>
                    <a:pt x="6" y="26"/>
                    <a:pt x="0" y="39"/>
                    <a:pt x="0" y="53"/>
                  </a:cubicBezTo>
                  <a:cubicBezTo>
                    <a:pt x="0" y="149"/>
                    <a:pt x="0" y="149"/>
                    <a:pt x="0" y="149"/>
                  </a:cubicBezTo>
                  <a:cubicBezTo>
                    <a:pt x="0" y="172"/>
                    <a:pt x="0" y="172"/>
                    <a:pt x="0" y="172"/>
                  </a:cubicBezTo>
                  <a:cubicBezTo>
                    <a:pt x="0" y="277"/>
                    <a:pt x="0" y="277"/>
                    <a:pt x="0" y="277"/>
                  </a:cubicBezTo>
                  <a:cubicBezTo>
                    <a:pt x="0" y="488"/>
                    <a:pt x="0" y="488"/>
                    <a:pt x="0" y="488"/>
                  </a:cubicBezTo>
                  <a:cubicBezTo>
                    <a:pt x="0" y="908"/>
                    <a:pt x="0" y="908"/>
                    <a:pt x="0" y="908"/>
                  </a:cubicBezTo>
                  <a:cubicBezTo>
                    <a:pt x="106" y="908"/>
                    <a:pt x="106" y="908"/>
                    <a:pt x="106" y="908"/>
                  </a:cubicBezTo>
                  <a:cubicBezTo>
                    <a:pt x="421" y="908"/>
                    <a:pt x="421" y="908"/>
                    <a:pt x="421" y="908"/>
                  </a:cubicBezTo>
                  <a:cubicBezTo>
                    <a:pt x="947" y="908"/>
                    <a:pt x="947" y="908"/>
                    <a:pt x="947" y="908"/>
                  </a:cubicBezTo>
                  <a:cubicBezTo>
                    <a:pt x="1105" y="908"/>
                    <a:pt x="1105" y="908"/>
                    <a:pt x="1105" y="908"/>
                  </a:cubicBezTo>
                  <a:cubicBezTo>
                    <a:pt x="1119" y="908"/>
                    <a:pt x="1131" y="903"/>
                    <a:pt x="1142" y="893"/>
                  </a:cubicBezTo>
                  <a:cubicBezTo>
                    <a:pt x="1152" y="882"/>
                    <a:pt x="1157" y="870"/>
                    <a:pt x="1157" y="856"/>
                  </a:cubicBezTo>
                  <a:cubicBezTo>
                    <a:pt x="1157" y="53"/>
                    <a:pt x="1157" y="53"/>
                    <a:pt x="1157" y="53"/>
                  </a:cubicBezTo>
                  <a:cubicBezTo>
                    <a:pt x="1157" y="39"/>
                    <a:pt x="1152" y="26"/>
                    <a:pt x="1142" y="1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2" name="Freeform 106">
              <a:extLst>
                <a:ext uri="{FF2B5EF4-FFF2-40B4-BE49-F238E27FC236}">
                  <a16:creationId xmlns:a16="http://schemas.microsoft.com/office/drawing/2014/main" xmlns="" id="{B443DE50-BA9B-460A-A652-D0F8510F1834}"/>
                </a:ext>
              </a:extLst>
            </p:cNvPr>
            <p:cNvSpPr>
              <a:spLocks/>
            </p:cNvSpPr>
            <p:nvPr/>
          </p:nvSpPr>
          <p:spPr bwMode="auto">
            <a:xfrm>
              <a:off x="10027215" y="7245249"/>
              <a:ext cx="491998" cy="101574"/>
            </a:xfrm>
            <a:custGeom>
              <a:avLst/>
              <a:gdLst>
                <a:gd name="T0" fmla="*/ 134 w 134"/>
                <a:gd name="T1" fmla="*/ 14 h 28"/>
                <a:gd name="T2" fmla="*/ 120 w 134"/>
                <a:gd name="T3" fmla="*/ 28 h 28"/>
                <a:gd name="T4" fmla="*/ 14 w 134"/>
                <a:gd name="T5" fmla="*/ 28 h 28"/>
                <a:gd name="T6" fmla="*/ 0 w 134"/>
                <a:gd name="T7" fmla="*/ 14 h 28"/>
                <a:gd name="T8" fmla="*/ 14 w 134"/>
                <a:gd name="T9" fmla="*/ 0 h 28"/>
                <a:gd name="T10" fmla="*/ 120 w 134"/>
                <a:gd name="T11" fmla="*/ 0 h 28"/>
                <a:gd name="T12" fmla="*/ 134 w 134"/>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134" h="28">
                  <a:moveTo>
                    <a:pt x="134" y="14"/>
                  </a:moveTo>
                  <a:cubicBezTo>
                    <a:pt x="134" y="22"/>
                    <a:pt x="127" y="28"/>
                    <a:pt x="120" y="28"/>
                  </a:cubicBezTo>
                  <a:cubicBezTo>
                    <a:pt x="14" y="28"/>
                    <a:pt x="14" y="28"/>
                    <a:pt x="14" y="28"/>
                  </a:cubicBezTo>
                  <a:cubicBezTo>
                    <a:pt x="6" y="28"/>
                    <a:pt x="0" y="22"/>
                    <a:pt x="0" y="14"/>
                  </a:cubicBezTo>
                  <a:cubicBezTo>
                    <a:pt x="0" y="6"/>
                    <a:pt x="6" y="0"/>
                    <a:pt x="14" y="0"/>
                  </a:cubicBezTo>
                  <a:cubicBezTo>
                    <a:pt x="120" y="0"/>
                    <a:pt x="120" y="0"/>
                    <a:pt x="120" y="0"/>
                  </a:cubicBezTo>
                  <a:cubicBezTo>
                    <a:pt x="127" y="0"/>
                    <a:pt x="134" y="6"/>
                    <a:pt x="134" y="14"/>
                  </a:cubicBezTo>
                  <a:close/>
                </a:path>
              </a:pathLst>
            </a:cu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3" name="Oval 107">
              <a:extLst>
                <a:ext uri="{FF2B5EF4-FFF2-40B4-BE49-F238E27FC236}">
                  <a16:creationId xmlns:a16="http://schemas.microsoft.com/office/drawing/2014/main" xmlns="" id="{50327453-A0C8-4C9C-A723-F5A62964C464}"/>
                </a:ext>
              </a:extLst>
            </p:cNvPr>
            <p:cNvSpPr>
              <a:spLocks noChangeArrowheads="1"/>
            </p:cNvSpPr>
            <p:nvPr/>
          </p:nvSpPr>
          <p:spPr bwMode="auto">
            <a:xfrm>
              <a:off x="11801576" y="5724822"/>
              <a:ext cx="1958466" cy="19648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4" name="Freeform 108">
              <a:extLst>
                <a:ext uri="{FF2B5EF4-FFF2-40B4-BE49-F238E27FC236}">
                  <a16:creationId xmlns:a16="http://schemas.microsoft.com/office/drawing/2014/main" xmlns="" id="{537DCA4C-4D2D-4D1D-AE30-09FF1596835C}"/>
                </a:ext>
              </a:extLst>
            </p:cNvPr>
            <p:cNvSpPr>
              <a:spLocks/>
            </p:cNvSpPr>
            <p:nvPr/>
          </p:nvSpPr>
          <p:spPr bwMode="auto">
            <a:xfrm>
              <a:off x="12217395" y="6143813"/>
              <a:ext cx="1126832" cy="1126832"/>
            </a:xfrm>
            <a:custGeom>
              <a:avLst/>
              <a:gdLst>
                <a:gd name="T0" fmla="*/ 294 w 307"/>
                <a:gd name="T1" fmla="*/ 107 h 307"/>
                <a:gd name="T2" fmla="*/ 201 w 307"/>
                <a:gd name="T3" fmla="*/ 107 h 307"/>
                <a:gd name="T4" fmla="*/ 201 w 307"/>
                <a:gd name="T5" fmla="*/ 13 h 307"/>
                <a:gd name="T6" fmla="*/ 187 w 307"/>
                <a:gd name="T7" fmla="*/ 0 h 307"/>
                <a:gd name="T8" fmla="*/ 120 w 307"/>
                <a:gd name="T9" fmla="*/ 0 h 307"/>
                <a:gd name="T10" fmla="*/ 107 w 307"/>
                <a:gd name="T11" fmla="*/ 13 h 307"/>
                <a:gd name="T12" fmla="*/ 107 w 307"/>
                <a:gd name="T13" fmla="*/ 107 h 307"/>
                <a:gd name="T14" fmla="*/ 14 w 307"/>
                <a:gd name="T15" fmla="*/ 107 h 307"/>
                <a:gd name="T16" fmla="*/ 0 w 307"/>
                <a:gd name="T17" fmla="*/ 120 h 307"/>
                <a:gd name="T18" fmla="*/ 0 w 307"/>
                <a:gd name="T19" fmla="*/ 187 h 307"/>
                <a:gd name="T20" fmla="*/ 14 w 307"/>
                <a:gd name="T21" fmla="*/ 200 h 307"/>
                <a:gd name="T22" fmla="*/ 107 w 307"/>
                <a:gd name="T23" fmla="*/ 200 h 307"/>
                <a:gd name="T24" fmla="*/ 107 w 307"/>
                <a:gd name="T25" fmla="*/ 294 h 307"/>
                <a:gd name="T26" fmla="*/ 120 w 307"/>
                <a:gd name="T27" fmla="*/ 307 h 307"/>
                <a:gd name="T28" fmla="*/ 187 w 307"/>
                <a:gd name="T29" fmla="*/ 307 h 307"/>
                <a:gd name="T30" fmla="*/ 201 w 307"/>
                <a:gd name="T31" fmla="*/ 294 h 307"/>
                <a:gd name="T32" fmla="*/ 201 w 307"/>
                <a:gd name="T33" fmla="*/ 200 h 307"/>
                <a:gd name="T34" fmla="*/ 294 w 307"/>
                <a:gd name="T35" fmla="*/ 200 h 307"/>
                <a:gd name="T36" fmla="*/ 307 w 307"/>
                <a:gd name="T37" fmla="*/ 187 h 307"/>
                <a:gd name="T38" fmla="*/ 307 w 307"/>
                <a:gd name="T39" fmla="*/ 120 h 307"/>
                <a:gd name="T40" fmla="*/ 294 w 307"/>
                <a:gd name="T41" fmla="*/ 1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7" h="307">
                  <a:moveTo>
                    <a:pt x="294" y="107"/>
                  </a:moveTo>
                  <a:cubicBezTo>
                    <a:pt x="201" y="107"/>
                    <a:pt x="201" y="107"/>
                    <a:pt x="201" y="107"/>
                  </a:cubicBezTo>
                  <a:cubicBezTo>
                    <a:pt x="201" y="13"/>
                    <a:pt x="201" y="13"/>
                    <a:pt x="201" y="13"/>
                  </a:cubicBezTo>
                  <a:cubicBezTo>
                    <a:pt x="201" y="6"/>
                    <a:pt x="195" y="0"/>
                    <a:pt x="187" y="0"/>
                  </a:cubicBezTo>
                  <a:cubicBezTo>
                    <a:pt x="120" y="0"/>
                    <a:pt x="120" y="0"/>
                    <a:pt x="120" y="0"/>
                  </a:cubicBezTo>
                  <a:cubicBezTo>
                    <a:pt x="113" y="0"/>
                    <a:pt x="107" y="6"/>
                    <a:pt x="107" y="13"/>
                  </a:cubicBezTo>
                  <a:cubicBezTo>
                    <a:pt x="107" y="107"/>
                    <a:pt x="107" y="107"/>
                    <a:pt x="107" y="107"/>
                  </a:cubicBezTo>
                  <a:cubicBezTo>
                    <a:pt x="14" y="107"/>
                    <a:pt x="14" y="107"/>
                    <a:pt x="14" y="107"/>
                  </a:cubicBezTo>
                  <a:cubicBezTo>
                    <a:pt x="6" y="107"/>
                    <a:pt x="0" y="113"/>
                    <a:pt x="0" y="120"/>
                  </a:cubicBezTo>
                  <a:cubicBezTo>
                    <a:pt x="0" y="187"/>
                    <a:pt x="0" y="187"/>
                    <a:pt x="0" y="187"/>
                  </a:cubicBezTo>
                  <a:cubicBezTo>
                    <a:pt x="0" y="194"/>
                    <a:pt x="6" y="200"/>
                    <a:pt x="14" y="200"/>
                  </a:cubicBezTo>
                  <a:cubicBezTo>
                    <a:pt x="107" y="200"/>
                    <a:pt x="107" y="200"/>
                    <a:pt x="107" y="200"/>
                  </a:cubicBezTo>
                  <a:cubicBezTo>
                    <a:pt x="107" y="294"/>
                    <a:pt x="107" y="294"/>
                    <a:pt x="107" y="294"/>
                  </a:cubicBezTo>
                  <a:cubicBezTo>
                    <a:pt x="107" y="301"/>
                    <a:pt x="113" y="307"/>
                    <a:pt x="120" y="307"/>
                  </a:cubicBezTo>
                  <a:cubicBezTo>
                    <a:pt x="187" y="307"/>
                    <a:pt x="187" y="307"/>
                    <a:pt x="187" y="307"/>
                  </a:cubicBezTo>
                  <a:cubicBezTo>
                    <a:pt x="195" y="307"/>
                    <a:pt x="201" y="301"/>
                    <a:pt x="201" y="294"/>
                  </a:cubicBezTo>
                  <a:cubicBezTo>
                    <a:pt x="201" y="200"/>
                    <a:pt x="201" y="200"/>
                    <a:pt x="201" y="200"/>
                  </a:cubicBezTo>
                  <a:cubicBezTo>
                    <a:pt x="294" y="200"/>
                    <a:pt x="294" y="200"/>
                    <a:pt x="294" y="200"/>
                  </a:cubicBezTo>
                  <a:cubicBezTo>
                    <a:pt x="301" y="200"/>
                    <a:pt x="307" y="194"/>
                    <a:pt x="307" y="187"/>
                  </a:cubicBezTo>
                  <a:cubicBezTo>
                    <a:pt x="307" y="120"/>
                    <a:pt x="307" y="120"/>
                    <a:pt x="307" y="120"/>
                  </a:cubicBezTo>
                  <a:cubicBezTo>
                    <a:pt x="307" y="113"/>
                    <a:pt x="301" y="107"/>
                    <a:pt x="294" y="107"/>
                  </a:cubicBezTo>
                  <a:close/>
                </a:path>
              </a:pathLst>
            </a:custGeom>
            <a:solidFill>
              <a:srgbClr val="F15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2" name="Freeform 109">
              <a:extLst>
                <a:ext uri="{FF2B5EF4-FFF2-40B4-BE49-F238E27FC236}">
                  <a16:creationId xmlns:a16="http://schemas.microsoft.com/office/drawing/2014/main" xmlns="" id="{D21437F2-7788-475D-A847-654AFFC9E153}"/>
                </a:ext>
              </a:extLst>
            </p:cNvPr>
            <p:cNvSpPr>
              <a:spLocks/>
            </p:cNvSpPr>
            <p:nvPr/>
          </p:nvSpPr>
          <p:spPr bwMode="auto">
            <a:xfrm>
              <a:off x="9147968" y="8295902"/>
              <a:ext cx="5935704" cy="190450"/>
            </a:xfrm>
            <a:custGeom>
              <a:avLst/>
              <a:gdLst>
                <a:gd name="T0" fmla="*/ 1620 w 1620"/>
                <a:gd name="T1" fmla="*/ 26 h 52"/>
                <a:gd name="T2" fmla="*/ 1594 w 1620"/>
                <a:gd name="T3" fmla="*/ 52 h 52"/>
                <a:gd name="T4" fmla="*/ 27 w 1620"/>
                <a:gd name="T5" fmla="*/ 52 h 52"/>
                <a:gd name="T6" fmla="*/ 0 w 1620"/>
                <a:gd name="T7" fmla="*/ 26 h 52"/>
                <a:gd name="T8" fmla="*/ 27 w 1620"/>
                <a:gd name="T9" fmla="*/ 0 h 52"/>
                <a:gd name="T10" fmla="*/ 1594 w 1620"/>
                <a:gd name="T11" fmla="*/ 0 h 52"/>
                <a:gd name="T12" fmla="*/ 1620 w 1620"/>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1620" h="52">
                  <a:moveTo>
                    <a:pt x="1620" y="26"/>
                  </a:moveTo>
                  <a:cubicBezTo>
                    <a:pt x="1620" y="41"/>
                    <a:pt x="1608" y="52"/>
                    <a:pt x="1594" y="52"/>
                  </a:cubicBezTo>
                  <a:cubicBezTo>
                    <a:pt x="27" y="52"/>
                    <a:pt x="27" y="52"/>
                    <a:pt x="27" y="52"/>
                  </a:cubicBezTo>
                  <a:cubicBezTo>
                    <a:pt x="12" y="52"/>
                    <a:pt x="0" y="41"/>
                    <a:pt x="0" y="26"/>
                  </a:cubicBezTo>
                  <a:cubicBezTo>
                    <a:pt x="0" y="11"/>
                    <a:pt x="12" y="0"/>
                    <a:pt x="27" y="0"/>
                  </a:cubicBezTo>
                  <a:cubicBezTo>
                    <a:pt x="1594" y="0"/>
                    <a:pt x="1594" y="0"/>
                    <a:pt x="1594" y="0"/>
                  </a:cubicBezTo>
                  <a:cubicBezTo>
                    <a:pt x="1608" y="0"/>
                    <a:pt x="1620" y="11"/>
                    <a:pt x="1620" y="2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4" name="Oval 110">
              <a:extLst>
                <a:ext uri="{FF2B5EF4-FFF2-40B4-BE49-F238E27FC236}">
                  <a16:creationId xmlns:a16="http://schemas.microsoft.com/office/drawing/2014/main" xmlns="" id="{2C2C73FE-884C-46E1-A7CB-4A65BC769DEA}"/>
                </a:ext>
              </a:extLst>
            </p:cNvPr>
            <p:cNvSpPr>
              <a:spLocks noChangeArrowheads="1"/>
            </p:cNvSpPr>
            <p:nvPr/>
          </p:nvSpPr>
          <p:spPr bwMode="auto">
            <a:xfrm>
              <a:off x="10125612" y="7788034"/>
              <a:ext cx="1298238" cy="1298238"/>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6" name="Oval 111">
              <a:extLst>
                <a:ext uri="{FF2B5EF4-FFF2-40B4-BE49-F238E27FC236}">
                  <a16:creationId xmlns:a16="http://schemas.microsoft.com/office/drawing/2014/main" xmlns="" id="{6C78DFA9-BB51-4F51-9F88-BAF6956964B1}"/>
                </a:ext>
              </a:extLst>
            </p:cNvPr>
            <p:cNvSpPr>
              <a:spLocks noChangeArrowheads="1"/>
            </p:cNvSpPr>
            <p:nvPr/>
          </p:nvSpPr>
          <p:spPr bwMode="auto">
            <a:xfrm>
              <a:off x="10325587" y="7991182"/>
              <a:ext cx="895117" cy="895117"/>
            </a:xfrm>
            <a:prstGeom prst="ellipse">
              <a:avLst/>
            </a:prstGeom>
            <a:solidFill>
              <a:srgbClr val="EEE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8" name="Oval 112">
              <a:extLst>
                <a:ext uri="{FF2B5EF4-FFF2-40B4-BE49-F238E27FC236}">
                  <a16:creationId xmlns:a16="http://schemas.microsoft.com/office/drawing/2014/main" xmlns="" id="{63DD5497-D8F0-4473-B27A-7281CAA7F43F}"/>
                </a:ext>
              </a:extLst>
            </p:cNvPr>
            <p:cNvSpPr>
              <a:spLocks noChangeArrowheads="1"/>
            </p:cNvSpPr>
            <p:nvPr/>
          </p:nvSpPr>
          <p:spPr bwMode="auto">
            <a:xfrm>
              <a:off x="10627132" y="8289553"/>
              <a:ext cx="295199" cy="295199"/>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0" name="Oval 113">
              <a:extLst>
                <a:ext uri="{FF2B5EF4-FFF2-40B4-BE49-F238E27FC236}">
                  <a16:creationId xmlns:a16="http://schemas.microsoft.com/office/drawing/2014/main" xmlns="" id="{E8BB1ED0-F2B0-4475-95CD-4B2E132753CB}"/>
                </a:ext>
              </a:extLst>
            </p:cNvPr>
            <p:cNvSpPr>
              <a:spLocks noChangeArrowheads="1"/>
            </p:cNvSpPr>
            <p:nvPr/>
          </p:nvSpPr>
          <p:spPr bwMode="auto">
            <a:xfrm>
              <a:off x="13112510" y="7788034"/>
              <a:ext cx="1298238" cy="1298238"/>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2" name="Oval 114">
              <a:extLst>
                <a:ext uri="{FF2B5EF4-FFF2-40B4-BE49-F238E27FC236}">
                  <a16:creationId xmlns:a16="http://schemas.microsoft.com/office/drawing/2014/main" xmlns="" id="{65B2C7D8-E80F-4A1E-817F-D0ED9661347A}"/>
                </a:ext>
              </a:extLst>
            </p:cNvPr>
            <p:cNvSpPr>
              <a:spLocks noChangeArrowheads="1"/>
            </p:cNvSpPr>
            <p:nvPr/>
          </p:nvSpPr>
          <p:spPr bwMode="auto">
            <a:xfrm>
              <a:off x="13309310" y="7991182"/>
              <a:ext cx="898292" cy="895117"/>
            </a:xfrm>
            <a:prstGeom prst="ellipse">
              <a:avLst/>
            </a:prstGeom>
            <a:solidFill>
              <a:srgbClr val="EEE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3" name="Oval 115">
              <a:extLst>
                <a:ext uri="{FF2B5EF4-FFF2-40B4-BE49-F238E27FC236}">
                  <a16:creationId xmlns:a16="http://schemas.microsoft.com/office/drawing/2014/main" xmlns="" id="{19159016-EDE8-4FC2-8ED1-3166DAD0A143}"/>
                </a:ext>
              </a:extLst>
            </p:cNvPr>
            <p:cNvSpPr>
              <a:spLocks noChangeArrowheads="1"/>
            </p:cNvSpPr>
            <p:nvPr/>
          </p:nvSpPr>
          <p:spPr bwMode="auto">
            <a:xfrm>
              <a:off x="13610855" y="8289553"/>
              <a:ext cx="295199" cy="295199"/>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grpSp>
      <p:pic>
        <p:nvPicPr>
          <p:cNvPr id="5" name="Grafik 4">
            <a:extLst>
              <a:ext uri="{FF2B5EF4-FFF2-40B4-BE49-F238E27FC236}">
                <a16:creationId xmlns:a16="http://schemas.microsoft.com/office/drawing/2014/main" xmlns="" id="{F6659027-9B9E-47C7-9482-BCBA7AB69EB8}"/>
              </a:ext>
            </a:extLst>
          </p:cNvPr>
          <p:cNvPicPr>
            <a:picLocks noChangeAspect="1"/>
          </p:cNvPicPr>
          <p:nvPr/>
        </p:nvPicPr>
        <p:blipFill rotWithShape="1">
          <a:blip r:embed="rId7">
            <a:duotone>
              <a:schemeClr val="accent1">
                <a:shade val="45000"/>
                <a:satMod val="135000"/>
              </a:schemeClr>
              <a:prstClr val="white"/>
            </a:duotone>
            <a:extLst>
              <a:ext uri="{BEBA8EAE-BF5A-486C-A8C5-ECC9F3942E4B}">
                <a14:imgProps xmlns:a14="http://schemas.microsoft.com/office/drawing/2010/main">
                  <a14:imgLayer r:embed="rId8">
                    <a14:imgEffect>
                      <a14:saturation sat="66000"/>
                    </a14:imgEffect>
                  </a14:imgLayer>
                </a14:imgProps>
              </a:ext>
            </a:extLst>
          </a:blip>
          <a:srcRect l="19753" r="18590"/>
          <a:stretch/>
        </p:blipFill>
        <p:spPr>
          <a:xfrm>
            <a:off x="6642778" y="3637547"/>
            <a:ext cx="1219222" cy="1038153"/>
          </a:xfrm>
          <a:prstGeom prst="rect">
            <a:avLst/>
          </a:prstGeom>
        </p:spPr>
      </p:pic>
      <p:pic>
        <p:nvPicPr>
          <p:cNvPr id="6" name="Grafik 5">
            <a:extLst>
              <a:ext uri="{FF2B5EF4-FFF2-40B4-BE49-F238E27FC236}">
                <a16:creationId xmlns:a16="http://schemas.microsoft.com/office/drawing/2014/main" xmlns="" id="{6AC7452E-227D-489E-96C1-B9145CEE3187}"/>
              </a:ext>
            </a:extLst>
          </p:cNvPr>
          <p:cNvPicPr>
            <a:picLocks noChangeAspect="1"/>
          </p:cNvPicPr>
          <p:nvPr/>
        </p:nvPicPr>
        <p:blipFill>
          <a:blip r:embed="rId9">
            <a:duotone>
              <a:schemeClr val="accent1">
                <a:shade val="45000"/>
                <a:satMod val="135000"/>
              </a:schemeClr>
              <a:prstClr val="white"/>
            </a:duotone>
          </a:blip>
          <a:srcRect/>
          <a:stretch/>
        </p:blipFill>
        <p:spPr>
          <a:xfrm>
            <a:off x="9153592" y="3637547"/>
            <a:ext cx="1139920" cy="1110608"/>
          </a:xfrm>
          <a:prstGeom prst="rect">
            <a:avLst/>
          </a:prstGeom>
        </p:spPr>
      </p:pic>
      <p:cxnSp>
        <p:nvCxnSpPr>
          <p:cNvPr id="8" name="Gerade Verbindung mit Pfeil 7">
            <a:extLst>
              <a:ext uri="{FF2B5EF4-FFF2-40B4-BE49-F238E27FC236}">
                <a16:creationId xmlns:a16="http://schemas.microsoft.com/office/drawing/2014/main" xmlns="" id="{73B8AE03-49A9-4F59-838E-1EF64A26DD63}"/>
              </a:ext>
            </a:extLst>
          </p:cNvPr>
          <p:cNvCxnSpPr>
            <a:cxnSpLocks/>
          </p:cNvCxnSpPr>
          <p:nvPr/>
        </p:nvCxnSpPr>
        <p:spPr>
          <a:xfrm>
            <a:off x="3907404" y="5784348"/>
            <a:ext cx="7156286" cy="0"/>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xmlns="" id="{5C0FD038-C346-4D97-8C74-3ABB483EB51E}"/>
              </a:ext>
            </a:extLst>
          </p:cNvPr>
          <p:cNvCxnSpPr>
            <a:cxnSpLocks/>
          </p:cNvCxnSpPr>
          <p:nvPr/>
        </p:nvCxnSpPr>
        <p:spPr>
          <a:xfrm>
            <a:off x="3960565" y="2430825"/>
            <a:ext cx="7753380" cy="0"/>
          </a:xfrm>
          <a:prstGeom prst="straightConnector1">
            <a:avLst/>
          </a:prstGeom>
          <a:ln w="412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xmlns="" id="{984E3A67-43DB-47D9-B727-7D54DC663C84}"/>
              </a:ext>
            </a:extLst>
          </p:cNvPr>
          <p:cNvSpPr txBox="1">
            <a:spLocks/>
          </p:cNvSpPr>
          <p:nvPr/>
        </p:nvSpPr>
        <p:spPr>
          <a:xfrm>
            <a:off x="3913135" y="1781099"/>
            <a:ext cx="7655935"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rgbClr val="F95C2C"/>
                </a:solidFill>
                <a:latin typeface="+mj-lt"/>
                <a:ea typeface="Lato Light" panose="020F0502020204030203" pitchFamily="34" charset="0"/>
                <a:cs typeface="Mukta ExtraLight" panose="020B0000000000000000" pitchFamily="34" charset="77"/>
              </a:rPr>
              <a:t>Operational Restructuring: </a:t>
            </a:r>
            <a:r>
              <a:rPr lang="en-GB" sz="2000" dirty="0">
                <a:solidFill>
                  <a:srgbClr val="F95C2C"/>
                </a:solidFill>
                <a:latin typeface="+mj-lt"/>
                <a:ea typeface="Lato Light" panose="020F0502020204030203" pitchFamily="34" charset="0"/>
                <a:cs typeface="Mukta ExtraLight" panose="020B0000000000000000" pitchFamily="34" charset="77"/>
              </a:rPr>
              <a:t>Develop a sustainable and feasible business model</a:t>
            </a:r>
            <a:endParaRPr lang="en-GB" sz="2000" b="1" dirty="0">
              <a:solidFill>
                <a:srgbClr val="F95C2C"/>
              </a:solidFill>
              <a:latin typeface="+mj-lt"/>
              <a:ea typeface="Lato Light" panose="020F0502020204030203" pitchFamily="34" charset="0"/>
              <a:cs typeface="Mukta ExtraLight" panose="020B0000000000000000" pitchFamily="34" charset="77"/>
            </a:endParaRPr>
          </a:p>
        </p:txBody>
      </p:sp>
      <p:sp>
        <p:nvSpPr>
          <p:cNvPr id="25" name="Subtitle 2">
            <a:extLst>
              <a:ext uri="{FF2B5EF4-FFF2-40B4-BE49-F238E27FC236}">
                <a16:creationId xmlns:a16="http://schemas.microsoft.com/office/drawing/2014/main" xmlns="" id="{9B2C6765-DF53-4D32-8DA8-6318ED402927}"/>
              </a:ext>
            </a:extLst>
          </p:cNvPr>
          <p:cNvSpPr txBox="1">
            <a:spLocks/>
          </p:cNvSpPr>
          <p:nvPr/>
        </p:nvSpPr>
        <p:spPr>
          <a:xfrm>
            <a:off x="3907403" y="5850063"/>
            <a:ext cx="7156285"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b="1" dirty="0">
                <a:solidFill>
                  <a:srgbClr val="F95C2C"/>
                </a:solidFill>
                <a:latin typeface="+mj-lt"/>
                <a:ea typeface="Lato Light" panose="020F0502020204030203" pitchFamily="34" charset="0"/>
                <a:cs typeface="Mukta ExtraLight" panose="020B0000000000000000" pitchFamily="34" charset="77"/>
              </a:rPr>
              <a:t>Financial Restructuring: </a:t>
            </a:r>
            <a:r>
              <a:rPr lang="en-GB" sz="1800" dirty="0">
                <a:solidFill>
                  <a:srgbClr val="F95C2C"/>
                </a:solidFill>
                <a:latin typeface="+mj-lt"/>
                <a:ea typeface="Lato Light" panose="020F0502020204030203" pitchFamily="34" charset="0"/>
                <a:cs typeface="Mukta ExtraLight" panose="020B0000000000000000" pitchFamily="34" charset="77"/>
              </a:rPr>
              <a:t>Ensuring the ability to generate returns and service debt</a:t>
            </a:r>
          </a:p>
        </p:txBody>
      </p:sp>
      <p:sp>
        <p:nvSpPr>
          <p:cNvPr id="10" name="Rechteck 9">
            <a:extLst>
              <a:ext uri="{FF2B5EF4-FFF2-40B4-BE49-F238E27FC236}">
                <a16:creationId xmlns:a16="http://schemas.microsoft.com/office/drawing/2014/main" xmlns="" id="{A06627C5-88FD-435D-BB87-B92048E4396C}"/>
              </a:ext>
            </a:extLst>
          </p:cNvPr>
          <p:cNvSpPr/>
          <p:nvPr/>
        </p:nvSpPr>
        <p:spPr>
          <a:xfrm>
            <a:off x="3908022" y="5215796"/>
            <a:ext cx="2291038" cy="45674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Avoiding the acute danger of insolvency</a:t>
            </a:r>
            <a:endParaRPr lang="en-GB" sz="1600" dirty="0">
              <a:solidFill>
                <a:schemeClr val="tx2"/>
              </a:solidFill>
            </a:endParaRPr>
          </a:p>
        </p:txBody>
      </p:sp>
      <p:sp>
        <p:nvSpPr>
          <p:cNvPr id="27" name="Rechteck 26">
            <a:extLst>
              <a:ext uri="{FF2B5EF4-FFF2-40B4-BE49-F238E27FC236}">
                <a16:creationId xmlns:a16="http://schemas.microsoft.com/office/drawing/2014/main" xmlns="" id="{EF53EEEF-79F1-4264-B7C1-76A10BA92A62}"/>
              </a:ext>
            </a:extLst>
          </p:cNvPr>
          <p:cNvSpPr/>
          <p:nvPr/>
        </p:nvSpPr>
        <p:spPr>
          <a:xfrm>
            <a:off x="6405338" y="5214192"/>
            <a:ext cx="2326836" cy="45674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Financing of the restructuring phase</a:t>
            </a:r>
            <a:endParaRPr lang="en-GB" sz="1600" dirty="0">
              <a:solidFill>
                <a:schemeClr val="tx2"/>
              </a:solidFill>
            </a:endParaRPr>
          </a:p>
        </p:txBody>
      </p:sp>
      <p:sp>
        <p:nvSpPr>
          <p:cNvPr id="28" name="Rechteck 27">
            <a:extLst>
              <a:ext uri="{FF2B5EF4-FFF2-40B4-BE49-F238E27FC236}">
                <a16:creationId xmlns:a16="http://schemas.microsoft.com/office/drawing/2014/main" xmlns="" id="{30C7381B-19C1-4ECB-BEA3-DE9F770B261C}"/>
              </a:ext>
            </a:extLst>
          </p:cNvPr>
          <p:cNvSpPr/>
          <p:nvPr/>
        </p:nvSpPr>
        <p:spPr>
          <a:xfrm>
            <a:off x="8938453" y="5216098"/>
            <a:ext cx="2424004" cy="45674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Sustainable restructuring of the financing side</a:t>
            </a:r>
            <a:endParaRPr lang="en-GB" sz="1600" dirty="0">
              <a:solidFill>
                <a:schemeClr val="tx2"/>
              </a:solidFill>
            </a:endParaRPr>
          </a:p>
        </p:txBody>
      </p:sp>
      <p:sp>
        <p:nvSpPr>
          <p:cNvPr id="35" name="Rechteck 34">
            <a:extLst>
              <a:ext uri="{FF2B5EF4-FFF2-40B4-BE49-F238E27FC236}">
                <a16:creationId xmlns:a16="http://schemas.microsoft.com/office/drawing/2014/main" xmlns="" id="{8A4B0004-94E4-4748-A797-4D663671AD6C}"/>
              </a:ext>
            </a:extLst>
          </p:cNvPr>
          <p:cNvSpPr/>
          <p:nvPr/>
        </p:nvSpPr>
        <p:spPr>
          <a:xfrm>
            <a:off x="4547547" y="2580039"/>
            <a:ext cx="2122273" cy="456742"/>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Short-term measures</a:t>
            </a:r>
            <a:endParaRPr lang="en-GB" sz="1600" dirty="0">
              <a:solidFill>
                <a:schemeClr val="tx2"/>
              </a:solidFill>
            </a:endParaRPr>
          </a:p>
        </p:txBody>
      </p:sp>
      <p:sp>
        <p:nvSpPr>
          <p:cNvPr id="36" name="Rechteck 35">
            <a:extLst>
              <a:ext uri="{FF2B5EF4-FFF2-40B4-BE49-F238E27FC236}">
                <a16:creationId xmlns:a16="http://schemas.microsoft.com/office/drawing/2014/main" xmlns="" id="{CC71196F-2C0B-4DCD-9E00-FC75CF1AD994}"/>
              </a:ext>
            </a:extLst>
          </p:cNvPr>
          <p:cNvSpPr/>
          <p:nvPr/>
        </p:nvSpPr>
        <p:spPr>
          <a:xfrm>
            <a:off x="6978380" y="2578435"/>
            <a:ext cx="2122273" cy="456742"/>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Mid- and long-term measures</a:t>
            </a:r>
            <a:endParaRPr lang="en-GB" sz="1600" dirty="0">
              <a:solidFill>
                <a:schemeClr val="tx2"/>
              </a:solidFill>
            </a:endParaRPr>
          </a:p>
        </p:txBody>
      </p:sp>
      <p:sp>
        <p:nvSpPr>
          <p:cNvPr id="37" name="Rechteck 36">
            <a:extLst>
              <a:ext uri="{FF2B5EF4-FFF2-40B4-BE49-F238E27FC236}">
                <a16:creationId xmlns:a16="http://schemas.microsoft.com/office/drawing/2014/main" xmlns="" id="{4A73DF15-608B-4BC8-98BD-F90F6B33AD29}"/>
              </a:ext>
            </a:extLst>
          </p:cNvPr>
          <p:cNvSpPr/>
          <p:nvPr/>
        </p:nvSpPr>
        <p:spPr>
          <a:xfrm>
            <a:off x="9409213" y="2575227"/>
            <a:ext cx="2122273" cy="456742"/>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Control and monitoring</a:t>
            </a:r>
            <a:endParaRPr lang="en-GB" sz="1600" dirty="0">
              <a:solidFill>
                <a:schemeClr val="tx2"/>
              </a:solidFill>
            </a:endParaRPr>
          </a:p>
        </p:txBody>
      </p:sp>
      <p:sp>
        <p:nvSpPr>
          <p:cNvPr id="39" name="Pfeil: nach rechts 38">
            <a:extLst>
              <a:ext uri="{FF2B5EF4-FFF2-40B4-BE49-F238E27FC236}">
                <a16:creationId xmlns:a16="http://schemas.microsoft.com/office/drawing/2014/main" xmlns="" id="{6F8CC65D-E60B-48B9-B839-B5188A172BAD}"/>
              </a:ext>
            </a:extLst>
          </p:cNvPr>
          <p:cNvSpPr/>
          <p:nvPr/>
        </p:nvSpPr>
        <p:spPr>
          <a:xfrm rot="17851772">
            <a:off x="7469346" y="3806219"/>
            <a:ext cx="1888305" cy="623524"/>
          </a:xfrm>
          <a:prstGeom prst="rightArrow">
            <a:avLst/>
          </a:prstGeom>
          <a:gradFill flip="none" rotWithShape="1">
            <a:gsLst>
              <a:gs pos="0">
                <a:srgbClr val="DAE3F3"/>
              </a:gs>
              <a:gs pos="33000">
                <a:srgbClr val="DAE3F3"/>
              </a:gs>
              <a:gs pos="85000">
                <a:srgbClr val="A9D18E"/>
              </a:gs>
            </a:gsLst>
            <a:lin ang="0" scaled="1"/>
            <a:tileRect/>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0" name="Pfeil: nach rechts 39">
            <a:extLst>
              <a:ext uri="{FF2B5EF4-FFF2-40B4-BE49-F238E27FC236}">
                <a16:creationId xmlns:a16="http://schemas.microsoft.com/office/drawing/2014/main" xmlns="" id="{6CF10598-6013-4248-ACD6-86B7163CCC06}"/>
              </a:ext>
            </a:extLst>
          </p:cNvPr>
          <p:cNvSpPr/>
          <p:nvPr/>
        </p:nvSpPr>
        <p:spPr>
          <a:xfrm rot="17851772">
            <a:off x="9952922" y="3844148"/>
            <a:ext cx="1888305" cy="623524"/>
          </a:xfrm>
          <a:prstGeom prst="rightArrow">
            <a:avLst/>
          </a:prstGeom>
          <a:gradFill flip="none" rotWithShape="1">
            <a:gsLst>
              <a:gs pos="0">
                <a:srgbClr val="DAE3F3"/>
              </a:gs>
              <a:gs pos="33000">
                <a:srgbClr val="DAE3F3"/>
              </a:gs>
              <a:gs pos="85000">
                <a:srgbClr val="A9D18E"/>
              </a:gs>
            </a:gsLst>
            <a:lin ang="0" scaled="1"/>
            <a:tileRect/>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Tree>
    <p:extLst>
      <p:ext uri="{BB962C8B-B14F-4D97-AF65-F5344CB8AC3E}">
        <p14:creationId xmlns:p14="http://schemas.microsoft.com/office/powerpoint/2010/main" val="33676010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2558" y="512206"/>
            <a:ext cx="8852375" cy="697353"/>
          </a:xfrm>
        </p:spPr>
        <p:txBody>
          <a:bodyPr>
            <a:normAutofit/>
          </a:bodyPr>
          <a:lstStyle/>
          <a:p>
            <a:r>
              <a:rPr lang="en-GB" dirty="0"/>
              <a:t>The Creditors Dilemma</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40599" y="1922585"/>
            <a:ext cx="3919829" cy="471441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Your creditors are in a dilemma which you can use to restructure your finances:</a:t>
            </a:r>
            <a:endParaRPr lang="en-US" sz="2200" dirty="0">
              <a:solidFill>
                <a:srgbClr val="245473"/>
              </a:solidFill>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f your creditors are not prepared to make concessions, the risk of insolvency or liquidation increases - with the associated risk of losing the receivables</a:t>
            </a:r>
          </a:p>
          <a:p>
            <a:pPr algn="l">
              <a:lnSpc>
                <a:spcPct val="100000"/>
              </a:lnSpc>
              <a:spcBef>
                <a:spcPts val="600"/>
              </a:spcBef>
            </a:pPr>
            <a:endParaRPr lang="en-GB" sz="2200" b="1"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200" b="1" dirty="0">
                <a:solidFill>
                  <a:srgbClr val="245473"/>
                </a:solidFill>
                <a:latin typeface="+mj-lt"/>
                <a:ea typeface="Open Sans Light" panose="020B0306030504020204" pitchFamily="34" charset="0"/>
                <a:cs typeface="Open Sans Light" panose="020B0306030504020204" pitchFamily="34" charset="0"/>
              </a:rPr>
              <a:t>In principle, the creditors should therefore have an interest in supporting you in the restructuring process</a:t>
            </a:r>
          </a:p>
        </p:txBody>
      </p:sp>
      <p:grpSp>
        <p:nvGrpSpPr>
          <p:cNvPr id="5" name="Gruppieren 4">
            <a:extLst>
              <a:ext uri="{FF2B5EF4-FFF2-40B4-BE49-F238E27FC236}">
                <a16:creationId xmlns:a16="http://schemas.microsoft.com/office/drawing/2014/main" xmlns="" id="{E51342ED-8A45-4D86-AC3E-529B7ADF7128}"/>
              </a:ext>
            </a:extLst>
          </p:cNvPr>
          <p:cNvGrpSpPr/>
          <p:nvPr/>
        </p:nvGrpSpPr>
        <p:grpSpPr>
          <a:xfrm>
            <a:off x="4662123" y="2473203"/>
            <a:ext cx="2105192" cy="3033974"/>
            <a:chOff x="4765425" y="2047169"/>
            <a:chExt cx="2577332" cy="3673338"/>
          </a:xfrm>
        </p:grpSpPr>
        <p:sp>
          <p:nvSpPr>
            <p:cNvPr id="38" name="Shape">
              <a:extLst>
                <a:ext uri="{FF2B5EF4-FFF2-40B4-BE49-F238E27FC236}">
                  <a16:creationId xmlns:a16="http://schemas.microsoft.com/office/drawing/2014/main" xmlns="" id="{2C666C68-4EB9-46F0-977A-F7C78EDC73D0}"/>
                </a:ext>
              </a:extLst>
            </p:cNvPr>
            <p:cNvSpPr/>
            <p:nvPr/>
          </p:nvSpPr>
          <p:spPr>
            <a:xfrm>
              <a:off x="5196900" y="3638443"/>
              <a:ext cx="1898949" cy="364081"/>
            </a:xfrm>
            <a:custGeom>
              <a:avLst/>
              <a:gdLst/>
              <a:ahLst/>
              <a:cxnLst>
                <a:cxn ang="0">
                  <a:pos x="wd2" y="hd2"/>
                </a:cxn>
                <a:cxn ang="5400000">
                  <a:pos x="wd2" y="hd2"/>
                </a:cxn>
                <a:cxn ang="10800000">
                  <a:pos x="wd2" y="hd2"/>
                </a:cxn>
                <a:cxn ang="16200000">
                  <a:pos x="wd2" y="hd2"/>
                </a:cxn>
              </a:cxnLst>
              <a:rect l="0" t="0" r="r" b="b"/>
              <a:pathLst>
                <a:path w="21600" h="21545" extrusionOk="0">
                  <a:moveTo>
                    <a:pt x="19460" y="68"/>
                  </a:moveTo>
                  <a:cubicBezTo>
                    <a:pt x="19219" y="-55"/>
                    <a:pt x="18993" y="-8"/>
                    <a:pt x="18721" y="192"/>
                  </a:cubicBezTo>
                  <a:cubicBezTo>
                    <a:pt x="18449" y="393"/>
                    <a:pt x="18130" y="747"/>
                    <a:pt x="17711" y="1210"/>
                  </a:cubicBezTo>
                  <a:lnTo>
                    <a:pt x="0" y="20943"/>
                  </a:lnTo>
                  <a:cubicBezTo>
                    <a:pt x="141" y="20936"/>
                    <a:pt x="240" y="20901"/>
                    <a:pt x="411" y="20901"/>
                  </a:cubicBezTo>
                  <a:lnTo>
                    <a:pt x="423" y="20901"/>
                  </a:lnTo>
                  <a:lnTo>
                    <a:pt x="19995" y="20901"/>
                  </a:lnTo>
                  <a:cubicBezTo>
                    <a:pt x="20766" y="20901"/>
                    <a:pt x="21185" y="20991"/>
                    <a:pt x="21600" y="21545"/>
                  </a:cubicBezTo>
                  <a:lnTo>
                    <a:pt x="21261" y="13257"/>
                  </a:lnTo>
                  <a:cubicBezTo>
                    <a:pt x="21170" y="11043"/>
                    <a:pt x="21104" y="9381"/>
                    <a:pt x="21029" y="8002"/>
                  </a:cubicBezTo>
                  <a:cubicBezTo>
                    <a:pt x="20954" y="6623"/>
                    <a:pt x="20869" y="5527"/>
                    <a:pt x="20750" y="4430"/>
                  </a:cubicBezTo>
                  <a:cubicBezTo>
                    <a:pt x="20607" y="3242"/>
                    <a:pt x="20419" y="2246"/>
                    <a:pt x="20199" y="1501"/>
                  </a:cubicBezTo>
                  <a:cubicBezTo>
                    <a:pt x="19978" y="756"/>
                    <a:pt x="19726" y="263"/>
                    <a:pt x="19460" y="68"/>
                  </a:cubicBezTo>
                  <a:close/>
                </a:path>
              </a:pathLst>
            </a:custGeom>
            <a:solidFill>
              <a:schemeClr val="accent1">
                <a:lumMod val="75000"/>
                <a:lumOff val="2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Rectangle">
              <a:extLst>
                <a:ext uri="{FF2B5EF4-FFF2-40B4-BE49-F238E27FC236}">
                  <a16:creationId xmlns:a16="http://schemas.microsoft.com/office/drawing/2014/main" xmlns="" id="{E080E570-7466-45DD-8B3F-EE4806BEBD33}"/>
                </a:ext>
              </a:extLst>
            </p:cNvPr>
            <p:cNvSpPr/>
            <p:nvPr/>
          </p:nvSpPr>
          <p:spPr>
            <a:xfrm rot="21300000">
              <a:off x="5469386" y="3462497"/>
              <a:ext cx="840003" cy="1459705"/>
            </a:xfrm>
            <a:prstGeom prst="rect">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2" name="Rectangle">
              <a:extLst>
                <a:ext uri="{FF2B5EF4-FFF2-40B4-BE49-F238E27FC236}">
                  <a16:creationId xmlns:a16="http://schemas.microsoft.com/office/drawing/2014/main" xmlns="" id="{395BA5CF-D296-4ED2-9FAB-51C2FA99DD3E}"/>
                </a:ext>
              </a:extLst>
            </p:cNvPr>
            <p:cNvSpPr/>
            <p:nvPr/>
          </p:nvSpPr>
          <p:spPr>
            <a:xfrm rot="300000">
              <a:off x="5651285" y="3383871"/>
              <a:ext cx="840003" cy="1459705"/>
            </a:xfrm>
            <a:prstGeom prst="rect">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Rectangle">
              <a:extLst>
                <a:ext uri="{FF2B5EF4-FFF2-40B4-BE49-F238E27FC236}">
                  <a16:creationId xmlns:a16="http://schemas.microsoft.com/office/drawing/2014/main" xmlns="" id="{8C4174BB-7899-4E19-9F0F-3F282A3BB299}"/>
                </a:ext>
              </a:extLst>
            </p:cNvPr>
            <p:cNvSpPr/>
            <p:nvPr/>
          </p:nvSpPr>
          <p:spPr>
            <a:xfrm rot="900000">
              <a:off x="5944497" y="3638692"/>
              <a:ext cx="840003" cy="1459705"/>
            </a:xfrm>
            <a:prstGeom prst="rect">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Rounded Rectangle">
              <a:extLst>
                <a:ext uri="{FF2B5EF4-FFF2-40B4-BE49-F238E27FC236}">
                  <a16:creationId xmlns:a16="http://schemas.microsoft.com/office/drawing/2014/main" xmlns="" id="{2EF0D573-3266-4DE3-AB28-D1CAD05E9E4C}"/>
                </a:ext>
              </a:extLst>
            </p:cNvPr>
            <p:cNvSpPr/>
            <p:nvPr/>
          </p:nvSpPr>
          <p:spPr>
            <a:xfrm>
              <a:off x="4969009" y="4040432"/>
              <a:ext cx="2247278" cy="1680075"/>
            </a:xfrm>
            <a:prstGeom prst="roundRect">
              <a:avLst>
                <a:gd name="adj" fmla="val 10233"/>
              </a:avLst>
            </a:prstGeom>
            <a:solidFill>
              <a:schemeClr val="accent1">
                <a:lumMod val="75000"/>
                <a:lumOff val="2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Rounded Rectangle">
              <a:extLst>
                <a:ext uri="{FF2B5EF4-FFF2-40B4-BE49-F238E27FC236}">
                  <a16:creationId xmlns:a16="http://schemas.microsoft.com/office/drawing/2014/main" xmlns="" id="{25054F65-240C-403B-97A3-300CF385B7EC}"/>
                </a:ext>
              </a:extLst>
            </p:cNvPr>
            <p:cNvSpPr/>
            <p:nvPr/>
          </p:nvSpPr>
          <p:spPr>
            <a:xfrm>
              <a:off x="6330334" y="4601173"/>
              <a:ext cx="1012423" cy="558595"/>
            </a:xfrm>
            <a:prstGeom prst="roundRect">
              <a:avLst>
                <a:gd name="adj" fmla="val 10476"/>
              </a:avLst>
            </a:prstGeom>
            <a:solidFill>
              <a:schemeClr val="accent1">
                <a:lumMod val="90000"/>
                <a:lumOff val="10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Circle">
              <a:extLst>
                <a:ext uri="{FF2B5EF4-FFF2-40B4-BE49-F238E27FC236}">
                  <a16:creationId xmlns:a16="http://schemas.microsoft.com/office/drawing/2014/main" xmlns="" id="{01E3B244-ABBD-464C-953B-CFAB86881A4B}"/>
                </a:ext>
              </a:extLst>
            </p:cNvPr>
            <p:cNvSpPr/>
            <p:nvPr/>
          </p:nvSpPr>
          <p:spPr>
            <a:xfrm>
              <a:off x="6438128" y="4798065"/>
              <a:ext cx="164806" cy="164806"/>
            </a:xfrm>
            <a:prstGeom prst="ellipse">
              <a:avLst/>
            </a:prstGeom>
            <a:solidFill>
              <a:schemeClr val="bg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Circle">
              <a:extLst>
                <a:ext uri="{FF2B5EF4-FFF2-40B4-BE49-F238E27FC236}">
                  <a16:creationId xmlns:a16="http://schemas.microsoft.com/office/drawing/2014/main" xmlns="" id="{A1C5F171-541E-4CE1-AEC8-7A2BD0CD2891}"/>
                </a:ext>
              </a:extLst>
            </p:cNvPr>
            <p:cNvSpPr/>
            <p:nvPr/>
          </p:nvSpPr>
          <p:spPr>
            <a:xfrm>
              <a:off x="6505170" y="2842549"/>
              <a:ext cx="453917" cy="453918"/>
            </a:xfrm>
            <a:prstGeom prst="ellipse">
              <a:avLst/>
            </a:pr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8" name="Shape">
              <a:extLst>
                <a:ext uri="{FF2B5EF4-FFF2-40B4-BE49-F238E27FC236}">
                  <a16:creationId xmlns:a16="http://schemas.microsoft.com/office/drawing/2014/main" xmlns="" id="{FEDDC97B-A6A7-4F9A-9C33-AF855638D3E3}"/>
                </a:ext>
              </a:extLst>
            </p:cNvPr>
            <p:cNvSpPr/>
            <p:nvPr/>
          </p:nvSpPr>
          <p:spPr>
            <a:xfrm>
              <a:off x="6536982" y="2873083"/>
              <a:ext cx="390292" cy="392850"/>
            </a:xfrm>
            <a:custGeom>
              <a:avLst/>
              <a:gdLst/>
              <a:ahLst/>
              <a:cxnLst>
                <a:cxn ang="0">
                  <a:pos x="wd2" y="hd2"/>
                </a:cxn>
                <a:cxn ang="5400000">
                  <a:pos x="wd2" y="hd2"/>
                </a:cxn>
                <a:cxn ang="10800000">
                  <a:pos x="wd2" y="hd2"/>
                </a:cxn>
                <a:cxn ang="16200000">
                  <a:pos x="wd2" y="hd2"/>
                </a:cxn>
              </a:cxnLst>
              <a:rect l="0" t="0" r="r" b="b"/>
              <a:pathLst>
                <a:path w="18917" h="18913" extrusionOk="0">
                  <a:moveTo>
                    <a:pt x="4683" y="1241"/>
                  </a:moveTo>
                  <a:cubicBezTo>
                    <a:pt x="175" y="3827"/>
                    <a:pt x="-1342" y="9600"/>
                    <a:pt x="1295" y="14137"/>
                  </a:cubicBezTo>
                  <a:cubicBezTo>
                    <a:pt x="3932" y="18674"/>
                    <a:pt x="9725" y="20256"/>
                    <a:pt x="14233" y="17671"/>
                  </a:cubicBezTo>
                  <a:cubicBezTo>
                    <a:pt x="18741" y="15085"/>
                    <a:pt x="20258" y="9312"/>
                    <a:pt x="17621" y="4775"/>
                  </a:cubicBezTo>
                  <a:cubicBezTo>
                    <a:pt x="14984" y="238"/>
                    <a:pt x="9191" y="-1344"/>
                    <a:pt x="4683" y="1241"/>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9" name="Shape">
              <a:extLst>
                <a:ext uri="{FF2B5EF4-FFF2-40B4-BE49-F238E27FC236}">
                  <a16:creationId xmlns:a16="http://schemas.microsoft.com/office/drawing/2014/main" xmlns="" id="{CE5E73C0-A29C-4EDB-BB94-6918E43FB8DD}"/>
                </a:ext>
              </a:extLst>
            </p:cNvPr>
            <p:cNvSpPr/>
            <p:nvPr/>
          </p:nvSpPr>
          <p:spPr>
            <a:xfrm>
              <a:off x="6622808" y="2934529"/>
              <a:ext cx="206431" cy="271195"/>
            </a:xfrm>
            <a:custGeom>
              <a:avLst/>
              <a:gdLst/>
              <a:ahLst/>
              <a:cxnLst>
                <a:cxn ang="0">
                  <a:pos x="wd2" y="hd2"/>
                </a:cxn>
                <a:cxn ang="5400000">
                  <a:pos x="wd2" y="hd2"/>
                </a:cxn>
                <a:cxn ang="10800000">
                  <a:pos x="wd2" y="hd2"/>
                </a:cxn>
                <a:cxn ang="16200000">
                  <a:pos x="wd2" y="hd2"/>
                </a:cxn>
              </a:cxnLst>
              <a:rect l="0" t="0" r="r" b="b"/>
              <a:pathLst>
                <a:path w="21336" h="21600" extrusionOk="0">
                  <a:moveTo>
                    <a:pt x="16082" y="13003"/>
                  </a:moveTo>
                  <a:cubicBezTo>
                    <a:pt x="15842" y="13388"/>
                    <a:pt x="15448" y="13731"/>
                    <a:pt x="14900" y="14032"/>
                  </a:cubicBezTo>
                  <a:lnTo>
                    <a:pt x="12861" y="11310"/>
                  </a:lnTo>
                  <a:cubicBezTo>
                    <a:pt x="13659" y="11097"/>
                    <a:pt x="14307" y="11031"/>
                    <a:pt x="14804" y="11112"/>
                  </a:cubicBezTo>
                  <a:cubicBezTo>
                    <a:pt x="15301" y="11194"/>
                    <a:pt x="15682" y="11411"/>
                    <a:pt x="15947" y="11766"/>
                  </a:cubicBezTo>
                  <a:cubicBezTo>
                    <a:pt x="16277" y="12205"/>
                    <a:pt x="16321" y="12618"/>
                    <a:pt x="16082" y="13003"/>
                  </a:cubicBezTo>
                  <a:close/>
                  <a:moveTo>
                    <a:pt x="8306" y="8674"/>
                  </a:moveTo>
                  <a:cubicBezTo>
                    <a:pt x="7365" y="8894"/>
                    <a:pt x="6710" y="8954"/>
                    <a:pt x="6340" y="8854"/>
                  </a:cubicBezTo>
                  <a:cubicBezTo>
                    <a:pt x="5970" y="8754"/>
                    <a:pt x="5671" y="8551"/>
                    <a:pt x="5443" y="8247"/>
                  </a:cubicBezTo>
                  <a:cubicBezTo>
                    <a:pt x="5162" y="7871"/>
                    <a:pt x="5135" y="7500"/>
                    <a:pt x="5365" y="7133"/>
                  </a:cubicBezTo>
                  <a:cubicBezTo>
                    <a:pt x="5593" y="6767"/>
                    <a:pt x="5953" y="6451"/>
                    <a:pt x="6442" y="6186"/>
                  </a:cubicBezTo>
                  <a:cubicBezTo>
                    <a:pt x="6442" y="6186"/>
                    <a:pt x="8306" y="8674"/>
                    <a:pt x="8306" y="8674"/>
                  </a:cubicBezTo>
                  <a:close/>
                  <a:moveTo>
                    <a:pt x="17160" y="7137"/>
                  </a:moveTo>
                  <a:cubicBezTo>
                    <a:pt x="15779" y="6934"/>
                    <a:pt x="14011" y="7099"/>
                    <a:pt x="11856" y="7633"/>
                  </a:cubicBezTo>
                  <a:lnTo>
                    <a:pt x="10489" y="7972"/>
                  </a:lnTo>
                  <a:lnTo>
                    <a:pt x="8466" y="5272"/>
                  </a:lnTo>
                  <a:cubicBezTo>
                    <a:pt x="9538" y="4851"/>
                    <a:pt x="10540" y="4557"/>
                    <a:pt x="11471" y="4388"/>
                  </a:cubicBezTo>
                  <a:cubicBezTo>
                    <a:pt x="12401" y="4220"/>
                    <a:pt x="13322" y="4146"/>
                    <a:pt x="14233" y="4166"/>
                  </a:cubicBezTo>
                  <a:lnTo>
                    <a:pt x="14675" y="3969"/>
                  </a:lnTo>
                  <a:lnTo>
                    <a:pt x="12382" y="907"/>
                  </a:lnTo>
                  <a:cubicBezTo>
                    <a:pt x="11667" y="970"/>
                    <a:pt x="10711" y="1157"/>
                    <a:pt x="9513" y="1468"/>
                  </a:cubicBezTo>
                  <a:cubicBezTo>
                    <a:pt x="8315" y="1779"/>
                    <a:pt x="7293" y="2108"/>
                    <a:pt x="6448" y="2456"/>
                  </a:cubicBezTo>
                  <a:lnTo>
                    <a:pt x="4608" y="0"/>
                  </a:lnTo>
                  <a:lnTo>
                    <a:pt x="2342" y="1008"/>
                  </a:lnTo>
                  <a:lnTo>
                    <a:pt x="4198" y="3485"/>
                  </a:lnTo>
                  <a:cubicBezTo>
                    <a:pt x="2250" y="4560"/>
                    <a:pt x="979" y="5728"/>
                    <a:pt x="383" y="6990"/>
                  </a:cubicBezTo>
                  <a:cubicBezTo>
                    <a:pt x="-213" y="8252"/>
                    <a:pt x="-113" y="9414"/>
                    <a:pt x="684" y="10477"/>
                  </a:cubicBezTo>
                  <a:cubicBezTo>
                    <a:pt x="1231" y="11207"/>
                    <a:pt x="1823" y="11740"/>
                    <a:pt x="2461" y="12075"/>
                  </a:cubicBezTo>
                  <a:cubicBezTo>
                    <a:pt x="3099" y="12410"/>
                    <a:pt x="3794" y="12628"/>
                    <a:pt x="4544" y="12728"/>
                  </a:cubicBezTo>
                  <a:cubicBezTo>
                    <a:pt x="5310" y="12832"/>
                    <a:pt x="6087" y="12836"/>
                    <a:pt x="6875" y="12740"/>
                  </a:cubicBezTo>
                  <a:cubicBezTo>
                    <a:pt x="7663" y="12645"/>
                    <a:pt x="8462" y="12507"/>
                    <a:pt x="9273" y="12326"/>
                  </a:cubicBezTo>
                  <a:lnTo>
                    <a:pt x="10678" y="12012"/>
                  </a:lnTo>
                  <a:lnTo>
                    <a:pt x="12884" y="14957"/>
                  </a:lnTo>
                  <a:cubicBezTo>
                    <a:pt x="11715" y="15430"/>
                    <a:pt x="10447" y="15779"/>
                    <a:pt x="9081" y="16004"/>
                  </a:cubicBezTo>
                  <a:cubicBezTo>
                    <a:pt x="7714" y="16230"/>
                    <a:pt x="6727" y="16331"/>
                    <a:pt x="6121" y="16308"/>
                  </a:cubicBezTo>
                  <a:lnTo>
                    <a:pt x="5678" y="16505"/>
                  </a:lnTo>
                  <a:lnTo>
                    <a:pt x="7988" y="19588"/>
                  </a:lnTo>
                  <a:cubicBezTo>
                    <a:pt x="8904" y="19548"/>
                    <a:pt x="10040" y="19350"/>
                    <a:pt x="11394" y="18993"/>
                  </a:cubicBezTo>
                  <a:cubicBezTo>
                    <a:pt x="12748" y="18637"/>
                    <a:pt x="13925" y="18240"/>
                    <a:pt x="14926" y="17805"/>
                  </a:cubicBezTo>
                  <a:lnTo>
                    <a:pt x="17769" y="21600"/>
                  </a:lnTo>
                  <a:lnTo>
                    <a:pt x="20036" y="20592"/>
                  </a:lnTo>
                  <a:lnTo>
                    <a:pt x="17152" y="16743"/>
                  </a:lnTo>
                  <a:cubicBezTo>
                    <a:pt x="18171" y="16234"/>
                    <a:pt x="18999" y="15659"/>
                    <a:pt x="19639" y="15020"/>
                  </a:cubicBezTo>
                  <a:cubicBezTo>
                    <a:pt x="20278" y="14382"/>
                    <a:pt x="20737" y="13731"/>
                    <a:pt x="21014" y="13069"/>
                  </a:cubicBezTo>
                  <a:cubicBezTo>
                    <a:pt x="21288" y="12418"/>
                    <a:pt x="21387" y="11755"/>
                    <a:pt x="21311" y="11080"/>
                  </a:cubicBezTo>
                  <a:cubicBezTo>
                    <a:pt x="21236" y="10405"/>
                    <a:pt x="20975" y="9770"/>
                    <a:pt x="20529" y="9174"/>
                  </a:cubicBezTo>
                  <a:cubicBezTo>
                    <a:pt x="19664" y="8019"/>
                    <a:pt x="18540" y="7340"/>
                    <a:pt x="17160" y="7137"/>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50" name="Shape">
              <a:extLst>
                <a:ext uri="{FF2B5EF4-FFF2-40B4-BE49-F238E27FC236}">
                  <a16:creationId xmlns:a16="http://schemas.microsoft.com/office/drawing/2014/main" xmlns="" id="{5BC00CE9-EA6D-4243-9914-96074548DBD7}"/>
                </a:ext>
              </a:extLst>
            </p:cNvPr>
            <p:cNvSpPr/>
            <p:nvPr/>
          </p:nvSpPr>
          <p:spPr>
            <a:xfrm>
              <a:off x="4765425" y="3442807"/>
              <a:ext cx="453965" cy="453966"/>
            </a:xfrm>
            <a:custGeom>
              <a:avLst/>
              <a:gdLst/>
              <a:ahLst/>
              <a:cxnLst>
                <a:cxn ang="0">
                  <a:pos x="wd2" y="hd2"/>
                </a:cxn>
                <a:cxn ang="5400000">
                  <a:pos x="wd2" y="hd2"/>
                </a:cxn>
                <a:cxn ang="10800000">
                  <a:pos x="wd2" y="hd2"/>
                </a:cxn>
                <a:cxn ang="16200000">
                  <a:pos x="wd2" y="hd2"/>
                </a:cxn>
              </a:cxnLst>
              <a:rect l="0" t="0" r="r" b="b"/>
              <a:pathLst>
                <a:path w="19144" h="19144" extrusionOk="0">
                  <a:moveTo>
                    <a:pt x="12845" y="580"/>
                  </a:moveTo>
                  <a:cubicBezTo>
                    <a:pt x="7879" y="-1228"/>
                    <a:pt x="2387" y="1333"/>
                    <a:pt x="580" y="6299"/>
                  </a:cubicBezTo>
                  <a:cubicBezTo>
                    <a:pt x="-1228" y="11265"/>
                    <a:pt x="1333" y="16757"/>
                    <a:pt x="6299" y="18564"/>
                  </a:cubicBezTo>
                  <a:cubicBezTo>
                    <a:pt x="11265" y="20372"/>
                    <a:pt x="16757" y="17811"/>
                    <a:pt x="18564" y="12845"/>
                  </a:cubicBezTo>
                  <a:cubicBezTo>
                    <a:pt x="20372" y="7879"/>
                    <a:pt x="17811" y="2387"/>
                    <a:pt x="12845" y="580"/>
                  </a:cubicBezTo>
                  <a:close/>
                </a:path>
              </a:pathLst>
            </a:cu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1" name="Shape">
              <a:extLst>
                <a:ext uri="{FF2B5EF4-FFF2-40B4-BE49-F238E27FC236}">
                  <a16:creationId xmlns:a16="http://schemas.microsoft.com/office/drawing/2014/main" xmlns="" id="{510312A4-C3C5-468B-91BC-96A47E5F7612}"/>
                </a:ext>
              </a:extLst>
            </p:cNvPr>
            <p:cNvSpPr/>
            <p:nvPr/>
          </p:nvSpPr>
          <p:spPr>
            <a:xfrm>
              <a:off x="4797581" y="3473007"/>
              <a:ext cx="389652" cy="393567"/>
            </a:xfrm>
            <a:custGeom>
              <a:avLst/>
              <a:gdLst/>
              <a:ahLst/>
              <a:cxnLst>
                <a:cxn ang="0">
                  <a:pos x="wd2" y="hd2"/>
                </a:cxn>
                <a:cxn ang="5400000">
                  <a:pos x="wd2" y="hd2"/>
                </a:cxn>
                <a:cxn ang="10800000">
                  <a:pos x="wd2" y="hd2"/>
                </a:cxn>
                <a:cxn ang="16200000">
                  <a:pos x="wd2" y="hd2"/>
                </a:cxn>
              </a:cxnLst>
              <a:rect l="0" t="0" r="r" b="b"/>
              <a:pathLst>
                <a:path w="19132" h="19157" extrusionOk="0">
                  <a:moveTo>
                    <a:pt x="12875" y="566"/>
                  </a:moveTo>
                  <a:cubicBezTo>
                    <a:pt x="7919" y="-1222"/>
                    <a:pt x="2421" y="1363"/>
                    <a:pt x="593" y="6340"/>
                  </a:cubicBezTo>
                  <a:cubicBezTo>
                    <a:pt x="-1234" y="11318"/>
                    <a:pt x="1302" y="16802"/>
                    <a:pt x="6257" y="18590"/>
                  </a:cubicBezTo>
                  <a:cubicBezTo>
                    <a:pt x="11213" y="20378"/>
                    <a:pt x="16711" y="17793"/>
                    <a:pt x="18539" y="12816"/>
                  </a:cubicBezTo>
                  <a:cubicBezTo>
                    <a:pt x="20366" y="7838"/>
                    <a:pt x="17830" y="2354"/>
                    <a:pt x="12875" y="566"/>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3" name="Shape">
              <a:extLst>
                <a:ext uri="{FF2B5EF4-FFF2-40B4-BE49-F238E27FC236}">
                  <a16:creationId xmlns:a16="http://schemas.microsoft.com/office/drawing/2014/main" xmlns="" id="{A9C72624-616C-49D3-9FC5-9644D6C845AD}"/>
                </a:ext>
              </a:extLst>
            </p:cNvPr>
            <p:cNvSpPr/>
            <p:nvPr/>
          </p:nvSpPr>
          <p:spPr>
            <a:xfrm>
              <a:off x="4886823" y="3524776"/>
              <a:ext cx="206992" cy="289187"/>
            </a:xfrm>
            <a:custGeom>
              <a:avLst/>
              <a:gdLst/>
              <a:ahLst/>
              <a:cxnLst>
                <a:cxn ang="0">
                  <a:pos x="wd2" y="hd2"/>
                </a:cxn>
                <a:cxn ang="5400000">
                  <a:pos x="wd2" y="hd2"/>
                </a:cxn>
                <a:cxn ang="10800000">
                  <a:pos x="wd2" y="hd2"/>
                </a:cxn>
                <a:cxn ang="16200000">
                  <a:pos x="wd2" y="hd2"/>
                </a:cxn>
              </a:cxnLst>
              <a:rect l="0" t="0" r="r" b="b"/>
              <a:pathLst>
                <a:path w="21600" h="21600" extrusionOk="0">
                  <a:moveTo>
                    <a:pt x="11862" y="14837"/>
                  </a:moveTo>
                  <a:cubicBezTo>
                    <a:pt x="11319" y="14936"/>
                    <a:pt x="10719" y="14925"/>
                    <a:pt x="10062" y="14803"/>
                  </a:cubicBezTo>
                  <a:lnTo>
                    <a:pt x="11470" y="12033"/>
                  </a:lnTo>
                  <a:cubicBezTo>
                    <a:pt x="12202" y="12347"/>
                    <a:pt x="12689" y="12665"/>
                    <a:pt x="12929" y="12990"/>
                  </a:cubicBezTo>
                  <a:cubicBezTo>
                    <a:pt x="13170" y="13314"/>
                    <a:pt x="13199" y="13656"/>
                    <a:pt x="13016" y="14016"/>
                  </a:cubicBezTo>
                  <a:cubicBezTo>
                    <a:pt x="12788" y="14464"/>
                    <a:pt x="12404" y="14737"/>
                    <a:pt x="11862" y="14837"/>
                  </a:cubicBezTo>
                  <a:close/>
                  <a:moveTo>
                    <a:pt x="11160" y="7922"/>
                  </a:moveTo>
                  <a:cubicBezTo>
                    <a:pt x="10328" y="7534"/>
                    <a:pt x="9843" y="7208"/>
                    <a:pt x="9703" y="6943"/>
                  </a:cubicBezTo>
                  <a:cubicBezTo>
                    <a:pt x="9564" y="6678"/>
                    <a:pt x="9573" y="6390"/>
                    <a:pt x="9731" y="6080"/>
                  </a:cubicBezTo>
                  <a:cubicBezTo>
                    <a:pt x="9925" y="5698"/>
                    <a:pt x="10280" y="5460"/>
                    <a:pt x="10797" y="5366"/>
                  </a:cubicBezTo>
                  <a:cubicBezTo>
                    <a:pt x="11313" y="5271"/>
                    <a:pt x="11863" y="5280"/>
                    <a:pt x="12447" y="5391"/>
                  </a:cubicBezTo>
                  <a:cubicBezTo>
                    <a:pt x="12447" y="5391"/>
                    <a:pt x="11160" y="7922"/>
                    <a:pt x="11160" y="7922"/>
                  </a:cubicBezTo>
                  <a:close/>
                  <a:moveTo>
                    <a:pt x="18448" y="11898"/>
                  </a:moveTo>
                  <a:cubicBezTo>
                    <a:pt x="17756" y="11011"/>
                    <a:pt x="16443" y="10132"/>
                    <a:pt x="14509" y="9260"/>
                  </a:cubicBezTo>
                  <a:lnTo>
                    <a:pt x="13281" y="8708"/>
                  </a:lnTo>
                  <a:lnTo>
                    <a:pt x="14678" y="5960"/>
                  </a:lnTo>
                  <a:cubicBezTo>
                    <a:pt x="15796" y="6300"/>
                    <a:pt x="16742" y="6678"/>
                    <a:pt x="17515" y="7091"/>
                  </a:cubicBezTo>
                  <a:cubicBezTo>
                    <a:pt x="18287" y="7505"/>
                    <a:pt x="18960" y="7970"/>
                    <a:pt x="19531" y="8486"/>
                  </a:cubicBezTo>
                  <a:lnTo>
                    <a:pt x="20016" y="8612"/>
                  </a:lnTo>
                  <a:lnTo>
                    <a:pt x="21600" y="5497"/>
                  </a:lnTo>
                  <a:cubicBezTo>
                    <a:pt x="21073" y="5139"/>
                    <a:pt x="20265" y="4723"/>
                    <a:pt x="19175" y="4247"/>
                  </a:cubicBezTo>
                  <a:cubicBezTo>
                    <a:pt x="18086" y="3771"/>
                    <a:pt x="17092" y="3404"/>
                    <a:pt x="16195" y="3146"/>
                  </a:cubicBezTo>
                  <a:lnTo>
                    <a:pt x="17466" y="647"/>
                  </a:lnTo>
                  <a:lnTo>
                    <a:pt x="14983" y="0"/>
                  </a:lnTo>
                  <a:lnTo>
                    <a:pt x="13701" y="2520"/>
                  </a:lnTo>
                  <a:cubicBezTo>
                    <a:pt x="11359" y="2090"/>
                    <a:pt x="9362" y="2090"/>
                    <a:pt x="7708" y="2521"/>
                  </a:cubicBezTo>
                  <a:cubicBezTo>
                    <a:pt x="6055" y="2952"/>
                    <a:pt x="4953" y="3708"/>
                    <a:pt x="4403" y="4790"/>
                  </a:cubicBezTo>
                  <a:cubicBezTo>
                    <a:pt x="4025" y="5533"/>
                    <a:pt x="3875" y="6182"/>
                    <a:pt x="3953" y="6737"/>
                  </a:cubicBezTo>
                  <a:cubicBezTo>
                    <a:pt x="4031" y="7292"/>
                    <a:pt x="4263" y="7808"/>
                    <a:pt x="4649" y="8284"/>
                  </a:cubicBezTo>
                  <a:cubicBezTo>
                    <a:pt x="5042" y="8771"/>
                    <a:pt x="5542" y="9203"/>
                    <a:pt x="6150" y="9582"/>
                  </a:cubicBezTo>
                  <a:cubicBezTo>
                    <a:pt x="6757" y="9960"/>
                    <a:pt x="7414" y="10320"/>
                    <a:pt x="8122" y="10659"/>
                  </a:cubicBezTo>
                  <a:lnTo>
                    <a:pt x="9349" y="11248"/>
                  </a:lnTo>
                  <a:lnTo>
                    <a:pt x="7825" y="14244"/>
                  </a:lnTo>
                  <a:cubicBezTo>
                    <a:pt x="6592" y="13882"/>
                    <a:pt x="5419" y="13391"/>
                    <a:pt x="4305" y="12770"/>
                  </a:cubicBezTo>
                  <a:cubicBezTo>
                    <a:pt x="3192" y="12149"/>
                    <a:pt x="2450" y="11664"/>
                    <a:pt x="2080" y="11314"/>
                  </a:cubicBezTo>
                  <a:lnTo>
                    <a:pt x="1595" y="11188"/>
                  </a:lnTo>
                  <a:lnTo>
                    <a:pt x="0" y="14325"/>
                  </a:lnTo>
                  <a:cubicBezTo>
                    <a:pt x="634" y="14809"/>
                    <a:pt x="1570" y="15318"/>
                    <a:pt x="2807" y="15853"/>
                  </a:cubicBezTo>
                  <a:cubicBezTo>
                    <a:pt x="4044" y="16387"/>
                    <a:pt x="5205" y="16800"/>
                    <a:pt x="6292" y="17091"/>
                  </a:cubicBezTo>
                  <a:lnTo>
                    <a:pt x="4328" y="20953"/>
                  </a:lnTo>
                  <a:lnTo>
                    <a:pt x="6811" y="21600"/>
                  </a:lnTo>
                  <a:lnTo>
                    <a:pt x="8802" y="17684"/>
                  </a:lnTo>
                  <a:cubicBezTo>
                    <a:pt x="9975" y="17941"/>
                    <a:pt x="11089" y="18053"/>
                    <a:pt x="12145" y="18022"/>
                  </a:cubicBezTo>
                  <a:cubicBezTo>
                    <a:pt x="13201" y="17991"/>
                    <a:pt x="14151" y="17853"/>
                    <a:pt x="14996" y="17607"/>
                  </a:cubicBezTo>
                  <a:cubicBezTo>
                    <a:pt x="15827" y="17366"/>
                    <a:pt x="16557" y="17022"/>
                    <a:pt x="17185" y="16573"/>
                  </a:cubicBezTo>
                  <a:cubicBezTo>
                    <a:pt x="17814" y="16124"/>
                    <a:pt x="18282" y="15597"/>
                    <a:pt x="18590" y="14991"/>
                  </a:cubicBezTo>
                  <a:cubicBezTo>
                    <a:pt x="19188" y="13816"/>
                    <a:pt x="19140" y="12784"/>
                    <a:pt x="18448" y="11898"/>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55" name="Circle">
              <a:extLst>
                <a:ext uri="{FF2B5EF4-FFF2-40B4-BE49-F238E27FC236}">
                  <a16:creationId xmlns:a16="http://schemas.microsoft.com/office/drawing/2014/main" xmlns="" id="{C3F32903-E351-480A-8FA5-26D688D2DD93}"/>
                </a:ext>
              </a:extLst>
            </p:cNvPr>
            <p:cNvSpPr/>
            <p:nvPr/>
          </p:nvSpPr>
          <p:spPr>
            <a:xfrm rot="20100000">
              <a:off x="5764336" y="2708608"/>
              <a:ext cx="453917" cy="453918"/>
            </a:xfrm>
            <a:prstGeom prst="ellipse">
              <a:avLst/>
            </a:pr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7" name="Shape">
              <a:extLst>
                <a:ext uri="{FF2B5EF4-FFF2-40B4-BE49-F238E27FC236}">
                  <a16:creationId xmlns:a16="http://schemas.microsoft.com/office/drawing/2014/main" xmlns="" id="{F7DC0F48-DA03-465A-8A3D-7F7210044C24}"/>
                </a:ext>
              </a:extLst>
            </p:cNvPr>
            <p:cNvSpPr/>
            <p:nvPr/>
          </p:nvSpPr>
          <p:spPr>
            <a:xfrm rot="20100000">
              <a:off x="5796148" y="2739142"/>
              <a:ext cx="390292" cy="392850"/>
            </a:xfrm>
            <a:custGeom>
              <a:avLst/>
              <a:gdLst/>
              <a:ahLst/>
              <a:cxnLst>
                <a:cxn ang="0">
                  <a:pos x="wd2" y="hd2"/>
                </a:cxn>
                <a:cxn ang="5400000">
                  <a:pos x="wd2" y="hd2"/>
                </a:cxn>
                <a:cxn ang="10800000">
                  <a:pos x="wd2" y="hd2"/>
                </a:cxn>
                <a:cxn ang="16200000">
                  <a:pos x="wd2" y="hd2"/>
                </a:cxn>
              </a:cxnLst>
              <a:rect l="0" t="0" r="r" b="b"/>
              <a:pathLst>
                <a:path w="18917" h="18913" extrusionOk="0">
                  <a:moveTo>
                    <a:pt x="4683" y="1241"/>
                  </a:moveTo>
                  <a:cubicBezTo>
                    <a:pt x="175" y="3827"/>
                    <a:pt x="-1342" y="9600"/>
                    <a:pt x="1295" y="14137"/>
                  </a:cubicBezTo>
                  <a:cubicBezTo>
                    <a:pt x="3932" y="18674"/>
                    <a:pt x="9725" y="20256"/>
                    <a:pt x="14233" y="17671"/>
                  </a:cubicBezTo>
                  <a:cubicBezTo>
                    <a:pt x="18741" y="15085"/>
                    <a:pt x="20258" y="9312"/>
                    <a:pt x="17621" y="4775"/>
                  </a:cubicBezTo>
                  <a:cubicBezTo>
                    <a:pt x="14984" y="238"/>
                    <a:pt x="9191" y="-1344"/>
                    <a:pt x="4683" y="1241"/>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9" name="Shape">
              <a:extLst>
                <a:ext uri="{FF2B5EF4-FFF2-40B4-BE49-F238E27FC236}">
                  <a16:creationId xmlns:a16="http://schemas.microsoft.com/office/drawing/2014/main" xmlns="" id="{C84951F4-AD19-4BE6-A206-E7630F9CD428}"/>
                </a:ext>
              </a:extLst>
            </p:cNvPr>
            <p:cNvSpPr/>
            <p:nvPr/>
          </p:nvSpPr>
          <p:spPr>
            <a:xfrm rot="20100000">
              <a:off x="5882807" y="2803111"/>
              <a:ext cx="206431" cy="271195"/>
            </a:xfrm>
            <a:custGeom>
              <a:avLst/>
              <a:gdLst/>
              <a:ahLst/>
              <a:cxnLst>
                <a:cxn ang="0">
                  <a:pos x="wd2" y="hd2"/>
                </a:cxn>
                <a:cxn ang="5400000">
                  <a:pos x="wd2" y="hd2"/>
                </a:cxn>
                <a:cxn ang="10800000">
                  <a:pos x="wd2" y="hd2"/>
                </a:cxn>
                <a:cxn ang="16200000">
                  <a:pos x="wd2" y="hd2"/>
                </a:cxn>
              </a:cxnLst>
              <a:rect l="0" t="0" r="r" b="b"/>
              <a:pathLst>
                <a:path w="21336" h="21600" extrusionOk="0">
                  <a:moveTo>
                    <a:pt x="16082" y="13003"/>
                  </a:moveTo>
                  <a:cubicBezTo>
                    <a:pt x="15842" y="13388"/>
                    <a:pt x="15448" y="13731"/>
                    <a:pt x="14900" y="14032"/>
                  </a:cubicBezTo>
                  <a:lnTo>
                    <a:pt x="12861" y="11310"/>
                  </a:lnTo>
                  <a:cubicBezTo>
                    <a:pt x="13659" y="11097"/>
                    <a:pt x="14307" y="11031"/>
                    <a:pt x="14804" y="11112"/>
                  </a:cubicBezTo>
                  <a:cubicBezTo>
                    <a:pt x="15301" y="11194"/>
                    <a:pt x="15682" y="11411"/>
                    <a:pt x="15947" y="11766"/>
                  </a:cubicBezTo>
                  <a:cubicBezTo>
                    <a:pt x="16277" y="12205"/>
                    <a:pt x="16321" y="12618"/>
                    <a:pt x="16082" y="13003"/>
                  </a:cubicBezTo>
                  <a:close/>
                  <a:moveTo>
                    <a:pt x="8306" y="8674"/>
                  </a:moveTo>
                  <a:cubicBezTo>
                    <a:pt x="7365" y="8894"/>
                    <a:pt x="6710" y="8954"/>
                    <a:pt x="6340" y="8854"/>
                  </a:cubicBezTo>
                  <a:cubicBezTo>
                    <a:pt x="5970" y="8754"/>
                    <a:pt x="5671" y="8551"/>
                    <a:pt x="5443" y="8247"/>
                  </a:cubicBezTo>
                  <a:cubicBezTo>
                    <a:pt x="5162" y="7871"/>
                    <a:pt x="5135" y="7500"/>
                    <a:pt x="5365" y="7133"/>
                  </a:cubicBezTo>
                  <a:cubicBezTo>
                    <a:pt x="5593" y="6767"/>
                    <a:pt x="5953" y="6451"/>
                    <a:pt x="6442" y="6186"/>
                  </a:cubicBezTo>
                  <a:cubicBezTo>
                    <a:pt x="6442" y="6186"/>
                    <a:pt x="8306" y="8674"/>
                    <a:pt x="8306" y="8674"/>
                  </a:cubicBezTo>
                  <a:close/>
                  <a:moveTo>
                    <a:pt x="17160" y="7137"/>
                  </a:moveTo>
                  <a:cubicBezTo>
                    <a:pt x="15779" y="6934"/>
                    <a:pt x="14011" y="7099"/>
                    <a:pt x="11856" y="7633"/>
                  </a:cubicBezTo>
                  <a:lnTo>
                    <a:pt x="10489" y="7972"/>
                  </a:lnTo>
                  <a:lnTo>
                    <a:pt x="8466" y="5272"/>
                  </a:lnTo>
                  <a:cubicBezTo>
                    <a:pt x="9538" y="4851"/>
                    <a:pt x="10540" y="4557"/>
                    <a:pt x="11471" y="4388"/>
                  </a:cubicBezTo>
                  <a:cubicBezTo>
                    <a:pt x="12401" y="4220"/>
                    <a:pt x="13322" y="4146"/>
                    <a:pt x="14233" y="4166"/>
                  </a:cubicBezTo>
                  <a:lnTo>
                    <a:pt x="14675" y="3969"/>
                  </a:lnTo>
                  <a:lnTo>
                    <a:pt x="12382" y="907"/>
                  </a:lnTo>
                  <a:cubicBezTo>
                    <a:pt x="11667" y="970"/>
                    <a:pt x="10711" y="1157"/>
                    <a:pt x="9513" y="1468"/>
                  </a:cubicBezTo>
                  <a:cubicBezTo>
                    <a:pt x="8315" y="1779"/>
                    <a:pt x="7293" y="2108"/>
                    <a:pt x="6448" y="2456"/>
                  </a:cubicBezTo>
                  <a:lnTo>
                    <a:pt x="4608" y="0"/>
                  </a:lnTo>
                  <a:lnTo>
                    <a:pt x="2342" y="1008"/>
                  </a:lnTo>
                  <a:lnTo>
                    <a:pt x="4198" y="3485"/>
                  </a:lnTo>
                  <a:cubicBezTo>
                    <a:pt x="2250" y="4560"/>
                    <a:pt x="979" y="5728"/>
                    <a:pt x="383" y="6990"/>
                  </a:cubicBezTo>
                  <a:cubicBezTo>
                    <a:pt x="-213" y="8252"/>
                    <a:pt x="-113" y="9414"/>
                    <a:pt x="684" y="10477"/>
                  </a:cubicBezTo>
                  <a:cubicBezTo>
                    <a:pt x="1231" y="11207"/>
                    <a:pt x="1823" y="11740"/>
                    <a:pt x="2461" y="12075"/>
                  </a:cubicBezTo>
                  <a:cubicBezTo>
                    <a:pt x="3099" y="12410"/>
                    <a:pt x="3794" y="12628"/>
                    <a:pt x="4544" y="12728"/>
                  </a:cubicBezTo>
                  <a:cubicBezTo>
                    <a:pt x="5310" y="12832"/>
                    <a:pt x="6087" y="12836"/>
                    <a:pt x="6875" y="12740"/>
                  </a:cubicBezTo>
                  <a:cubicBezTo>
                    <a:pt x="7663" y="12645"/>
                    <a:pt x="8462" y="12507"/>
                    <a:pt x="9273" y="12326"/>
                  </a:cubicBezTo>
                  <a:lnTo>
                    <a:pt x="10678" y="12012"/>
                  </a:lnTo>
                  <a:lnTo>
                    <a:pt x="12884" y="14957"/>
                  </a:lnTo>
                  <a:cubicBezTo>
                    <a:pt x="11715" y="15430"/>
                    <a:pt x="10447" y="15779"/>
                    <a:pt x="9081" y="16004"/>
                  </a:cubicBezTo>
                  <a:cubicBezTo>
                    <a:pt x="7714" y="16230"/>
                    <a:pt x="6727" y="16331"/>
                    <a:pt x="6121" y="16308"/>
                  </a:cubicBezTo>
                  <a:lnTo>
                    <a:pt x="5678" y="16505"/>
                  </a:lnTo>
                  <a:lnTo>
                    <a:pt x="7988" y="19588"/>
                  </a:lnTo>
                  <a:cubicBezTo>
                    <a:pt x="8904" y="19548"/>
                    <a:pt x="10040" y="19350"/>
                    <a:pt x="11394" y="18993"/>
                  </a:cubicBezTo>
                  <a:cubicBezTo>
                    <a:pt x="12748" y="18637"/>
                    <a:pt x="13925" y="18240"/>
                    <a:pt x="14926" y="17805"/>
                  </a:cubicBezTo>
                  <a:lnTo>
                    <a:pt x="17769" y="21600"/>
                  </a:lnTo>
                  <a:lnTo>
                    <a:pt x="20036" y="20592"/>
                  </a:lnTo>
                  <a:lnTo>
                    <a:pt x="17152" y="16743"/>
                  </a:lnTo>
                  <a:cubicBezTo>
                    <a:pt x="18171" y="16234"/>
                    <a:pt x="18999" y="15659"/>
                    <a:pt x="19639" y="15020"/>
                  </a:cubicBezTo>
                  <a:cubicBezTo>
                    <a:pt x="20278" y="14382"/>
                    <a:pt x="20737" y="13731"/>
                    <a:pt x="21014" y="13069"/>
                  </a:cubicBezTo>
                  <a:cubicBezTo>
                    <a:pt x="21288" y="12418"/>
                    <a:pt x="21387" y="11755"/>
                    <a:pt x="21311" y="11080"/>
                  </a:cubicBezTo>
                  <a:cubicBezTo>
                    <a:pt x="21236" y="10405"/>
                    <a:pt x="20975" y="9770"/>
                    <a:pt x="20529" y="9174"/>
                  </a:cubicBezTo>
                  <a:cubicBezTo>
                    <a:pt x="19664" y="8019"/>
                    <a:pt x="18540" y="7340"/>
                    <a:pt x="17160" y="7137"/>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61" name="Circle">
              <a:extLst>
                <a:ext uri="{FF2B5EF4-FFF2-40B4-BE49-F238E27FC236}">
                  <a16:creationId xmlns:a16="http://schemas.microsoft.com/office/drawing/2014/main" xmlns="" id="{281CE9D0-DB3B-49B1-8606-A5D52C7A8CC0}"/>
                </a:ext>
              </a:extLst>
            </p:cNvPr>
            <p:cNvSpPr/>
            <p:nvPr/>
          </p:nvSpPr>
          <p:spPr>
            <a:xfrm rot="3600000">
              <a:off x="6375976" y="2047169"/>
              <a:ext cx="453917" cy="453918"/>
            </a:xfrm>
            <a:prstGeom prst="ellipse">
              <a:avLst/>
            </a:pr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4" name="Shape">
              <a:extLst>
                <a:ext uri="{FF2B5EF4-FFF2-40B4-BE49-F238E27FC236}">
                  <a16:creationId xmlns:a16="http://schemas.microsoft.com/office/drawing/2014/main" xmlns="" id="{9A8D2B23-2278-4EE2-952A-49160B9E8733}"/>
                </a:ext>
              </a:extLst>
            </p:cNvPr>
            <p:cNvSpPr/>
            <p:nvPr/>
          </p:nvSpPr>
          <p:spPr>
            <a:xfrm rot="3600000">
              <a:off x="6407789" y="2077703"/>
              <a:ext cx="390291" cy="392851"/>
            </a:xfrm>
            <a:custGeom>
              <a:avLst/>
              <a:gdLst/>
              <a:ahLst/>
              <a:cxnLst>
                <a:cxn ang="0">
                  <a:pos x="wd2" y="hd2"/>
                </a:cxn>
                <a:cxn ang="5400000">
                  <a:pos x="wd2" y="hd2"/>
                </a:cxn>
                <a:cxn ang="10800000">
                  <a:pos x="wd2" y="hd2"/>
                </a:cxn>
                <a:cxn ang="16200000">
                  <a:pos x="wd2" y="hd2"/>
                </a:cxn>
              </a:cxnLst>
              <a:rect l="0" t="0" r="r" b="b"/>
              <a:pathLst>
                <a:path w="18917" h="18913" extrusionOk="0">
                  <a:moveTo>
                    <a:pt x="4683" y="1241"/>
                  </a:moveTo>
                  <a:cubicBezTo>
                    <a:pt x="175" y="3827"/>
                    <a:pt x="-1342" y="9600"/>
                    <a:pt x="1295" y="14137"/>
                  </a:cubicBezTo>
                  <a:cubicBezTo>
                    <a:pt x="3932" y="18674"/>
                    <a:pt x="9725" y="20256"/>
                    <a:pt x="14233" y="17671"/>
                  </a:cubicBezTo>
                  <a:cubicBezTo>
                    <a:pt x="18741" y="15085"/>
                    <a:pt x="20258" y="9312"/>
                    <a:pt x="17621" y="4775"/>
                  </a:cubicBezTo>
                  <a:cubicBezTo>
                    <a:pt x="14984" y="238"/>
                    <a:pt x="9191" y="-1344"/>
                    <a:pt x="4683" y="1241"/>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5" name="Shape">
              <a:extLst>
                <a:ext uri="{FF2B5EF4-FFF2-40B4-BE49-F238E27FC236}">
                  <a16:creationId xmlns:a16="http://schemas.microsoft.com/office/drawing/2014/main" xmlns="" id="{24B85E26-2B0F-4404-8D6A-C8B0E43E68EB}"/>
                </a:ext>
              </a:extLst>
            </p:cNvPr>
            <p:cNvSpPr/>
            <p:nvPr/>
          </p:nvSpPr>
          <p:spPr>
            <a:xfrm rot="3600000">
              <a:off x="6496132" y="2133551"/>
              <a:ext cx="206431" cy="271196"/>
            </a:xfrm>
            <a:custGeom>
              <a:avLst/>
              <a:gdLst/>
              <a:ahLst/>
              <a:cxnLst>
                <a:cxn ang="0">
                  <a:pos x="wd2" y="hd2"/>
                </a:cxn>
                <a:cxn ang="5400000">
                  <a:pos x="wd2" y="hd2"/>
                </a:cxn>
                <a:cxn ang="10800000">
                  <a:pos x="wd2" y="hd2"/>
                </a:cxn>
                <a:cxn ang="16200000">
                  <a:pos x="wd2" y="hd2"/>
                </a:cxn>
              </a:cxnLst>
              <a:rect l="0" t="0" r="r" b="b"/>
              <a:pathLst>
                <a:path w="21336" h="21600" extrusionOk="0">
                  <a:moveTo>
                    <a:pt x="16082" y="13003"/>
                  </a:moveTo>
                  <a:cubicBezTo>
                    <a:pt x="15842" y="13388"/>
                    <a:pt x="15448" y="13731"/>
                    <a:pt x="14900" y="14032"/>
                  </a:cubicBezTo>
                  <a:lnTo>
                    <a:pt x="12861" y="11310"/>
                  </a:lnTo>
                  <a:cubicBezTo>
                    <a:pt x="13659" y="11097"/>
                    <a:pt x="14307" y="11031"/>
                    <a:pt x="14804" y="11112"/>
                  </a:cubicBezTo>
                  <a:cubicBezTo>
                    <a:pt x="15301" y="11194"/>
                    <a:pt x="15682" y="11411"/>
                    <a:pt x="15947" y="11766"/>
                  </a:cubicBezTo>
                  <a:cubicBezTo>
                    <a:pt x="16277" y="12205"/>
                    <a:pt x="16321" y="12618"/>
                    <a:pt x="16082" y="13003"/>
                  </a:cubicBezTo>
                  <a:close/>
                  <a:moveTo>
                    <a:pt x="8306" y="8674"/>
                  </a:moveTo>
                  <a:cubicBezTo>
                    <a:pt x="7365" y="8894"/>
                    <a:pt x="6710" y="8954"/>
                    <a:pt x="6340" y="8854"/>
                  </a:cubicBezTo>
                  <a:cubicBezTo>
                    <a:pt x="5970" y="8754"/>
                    <a:pt x="5671" y="8551"/>
                    <a:pt x="5443" y="8247"/>
                  </a:cubicBezTo>
                  <a:cubicBezTo>
                    <a:pt x="5162" y="7871"/>
                    <a:pt x="5135" y="7500"/>
                    <a:pt x="5365" y="7133"/>
                  </a:cubicBezTo>
                  <a:cubicBezTo>
                    <a:pt x="5593" y="6767"/>
                    <a:pt x="5953" y="6451"/>
                    <a:pt x="6442" y="6186"/>
                  </a:cubicBezTo>
                  <a:cubicBezTo>
                    <a:pt x="6442" y="6186"/>
                    <a:pt x="8306" y="8674"/>
                    <a:pt x="8306" y="8674"/>
                  </a:cubicBezTo>
                  <a:close/>
                  <a:moveTo>
                    <a:pt x="17160" y="7137"/>
                  </a:moveTo>
                  <a:cubicBezTo>
                    <a:pt x="15779" y="6934"/>
                    <a:pt x="14011" y="7099"/>
                    <a:pt x="11856" y="7633"/>
                  </a:cubicBezTo>
                  <a:lnTo>
                    <a:pt x="10489" y="7972"/>
                  </a:lnTo>
                  <a:lnTo>
                    <a:pt x="8466" y="5272"/>
                  </a:lnTo>
                  <a:cubicBezTo>
                    <a:pt x="9538" y="4851"/>
                    <a:pt x="10540" y="4557"/>
                    <a:pt x="11471" y="4388"/>
                  </a:cubicBezTo>
                  <a:cubicBezTo>
                    <a:pt x="12401" y="4220"/>
                    <a:pt x="13322" y="4146"/>
                    <a:pt x="14233" y="4166"/>
                  </a:cubicBezTo>
                  <a:lnTo>
                    <a:pt x="14675" y="3969"/>
                  </a:lnTo>
                  <a:lnTo>
                    <a:pt x="12382" y="907"/>
                  </a:lnTo>
                  <a:cubicBezTo>
                    <a:pt x="11667" y="970"/>
                    <a:pt x="10711" y="1157"/>
                    <a:pt x="9513" y="1468"/>
                  </a:cubicBezTo>
                  <a:cubicBezTo>
                    <a:pt x="8315" y="1779"/>
                    <a:pt x="7293" y="2108"/>
                    <a:pt x="6448" y="2456"/>
                  </a:cubicBezTo>
                  <a:lnTo>
                    <a:pt x="4608" y="0"/>
                  </a:lnTo>
                  <a:lnTo>
                    <a:pt x="2342" y="1008"/>
                  </a:lnTo>
                  <a:lnTo>
                    <a:pt x="4198" y="3485"/>
                  </a:lnTo>
                  <a:cubicBezTo>
                    <a:pt x="2250" y="4560"/>
                    <a:pt x="979" y="5728"/>
                    <a:pt x="383" y="6990"/>
                  </a:cubicBezTo>
                  <a:cubicBezTo>
                    <a:pt x="-213" y="8252"/>
                    <a:pt x="-113" y="9414"/>
                    <a:pt x="684" y="10477"/>
                  </a:cubicBezTo>
                  <a:cubicBezTo>
                    <a:pt x="1231" y="11207"/>
                    <a:pt x="1823" y="11740"/>
                    <a:pt x="2461" y="12075"/>
                  </a:cubicBezTo>
                  <a:cubicBezTo>
                    <a:pt x="3099" y="12410"/>
                    <a:pt x="3794" y="12628"/>
                    <a:pt x="4544" y="12728"/>
                  </a:cubicBezTo>
                  <a:cubicBezTo>
                    <a:pt x="5310" y="12832"/>
                    <a:pt x="6087" y="12836"/>
                    <a:pt x="6875" y="12740"/>
                  </a:cubicBezTo>
                  <a:cubicBezTo>
                    <a:pt x="7663" y="12645"/>
                    <a:pt x="8462" y="12507"/>
                    <a:pt x="9273" y="12326"/>
                  </a:cubicBezTo>
                  <a:lnTo>
                    <a:pt x="10678" y="12012"/>
                  </a:lnTo>
                  <a:lnTo>
                    <a:pt x="12884" y="14957"/>
                  </a:lnTo>
                  <a:cubicBezTo>
                    <a:pt x="11715" y="15430"/>
                    <a:pt x="10447" y="15779"/>
                    <a:pt x="9081" y="16004"/>
                  </a:cubicBezTo>
                  <a:cubicBezTo>
                    <a:pt x="7714" y="16230"/>
                    <a:pt x="6727" y="16331"/>
                    <a:pt x="6121" y="16308"/>
                  </a:cubicBezTo>
                  <a:lnTo>
                    <a:pt x="5678" y="16505"/>
                  </a:lnTo>
                  <a:lnTo>
                    <a:pt x="7988" y="19588"/>
                  </a:lnTo>
                  <a:cubicBezTo>
                    <a:pt x="8904" y="19548"/>
                    <a:pt x="10040" y="19350"/>
                    <a:pt x="11394" y="18993"/>
                  </a:cubicBezTo>
                  <a:cubicBezTo>
                    <a:pt x="12748" y="18637"/>
                    <a:pt x="13925" y="18240"/>
                    <a:pt x="14926" y="17805"/>
                  </a:cubicBezTo>
                  <a:lnTo>
                    <a:pt x="17769" y="21600"/>
                  </a:lnTo>
                  <a:lnTo>
                    <a:pt x="20036" y="20592"/>
                  </a:lnTo>
                  <a:lnTo>
                    <a:pt x="17152" y="16743"/>
                  </a:lnTo>
                  <a:cubicBezTo>
                    <a:pt x="18171" y="16234"/>
                    <a:pt x="18999" y="15659"/>
                    <a:pt x="19639" y="15020"/>
                  </a:cubicBezTo>
                  <a:cubicBezTo>
                    <a:pt x="20278" y="14382"/>
                    <a:pt x="20737" y="13731"/>
                    <a:pt x="21014" y="13069"/>
                  </a:cubicBezTo>
                  <a:cubicBezTo>
                    <a:pt x="21288" y="12418"/>
                    <a:pt x="21387" y="11755"/>
                    <a:pt x="21311" y="11080"/>
                  </a:cubicBezTo>
                  <a:cubicBezTo>
                    <a:pt x="21236" y="10405"/>
                    <a:pt x="20975" y="9770"/>
                    <a:pt x="20529" y="9174"/>
                  </a:cubicBezTo>
                  <a:cubicBezTo>
                    <a:pt x="19664" y="8019"/>
                    <a:pt x="18540" y="7340"/>
                    <a:pt x="17160" y="7137"/>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grpSp>
      <p:sp>
        <p:nvSpPr>
          <p:cNvPr id="66" name="TextBox 36">
            <a:extLst>
              <a:ext uri="{FF2B5EF4-FFF2-40B4-BE49-F238E27FC236}">
                <a16:creationId xmlns:a16="http://schemas.microsoft.com/office/drawing/2014/main" xmlns="" id="{4BDB9038-0C3C-45F5-9807-93F150471EA9}"/>
              </a:ext>
            </a:extLst>
          </p:cNvPr>
          <p:cNvSpPr txBox="1"/>
          <p:nvPr/>
        </p:nvSpPr>
        <p:spPr>
          <a:xfrm>
            <a:off x="8473808" y="4735743"/>
            <a:ext cx="1164101" cy="369332"/>
          </a:xfrm>
          <a:prstGeom prst="rect">
            <a:avLst/>
          </a:prstGeom>
          <a:noFill/>
        </p:spPr>
        <p:txBody>
          <a:bodyPr wrap="none" rtlCol="0" anchor="ctr" anchorCtr="0">
            <a:spAutoFit/>
          </a:bodyPr>
          <a:lstStyle/>
          <a:p>
            <a:r>
              <a:rPr lang="en-GB" b="1" dirty="0">
                <a:solidFill>
                  <a:srgbClr val="E53292"/>
                </a:solidFill>
                <a:latin typeface="+mj-lt"/>
                <a:ea typeface="League Spartan" charset="0"/>
                <a:cs typeface="Poppins" pitchFamily="2" charset="77"/>
              </a:rPr>
              <a:t>The choice</a:t>
            </a:r>
          </a:p>
        </p:txBody>
      </p:sp>
      <p:sp>
        <p:nvSpPr>
          <p:cNvPr id="67" name="Subtitle 2">
            <a:extLst>
              <a:ext uri="{FF2B5EF4-FFF2-40B4-BE49-F238E27FC236}">
                <a16:creationId xmlns:a16="http://schemas.microsoft.com/office/drawing/2014/main" xmlns="" id="{C214A02F-34E0-452E-84EF-D2ED0290BFB8}"/>
              </a:ext>
            </a:extLst>
          </p:cNvPr>
          <p:cNvSpPr txBox="1">
            <a:spLocks/>
          </p:cNvSpPr>
          <p:nvPr/>
        </p:nvSpPr>
        <p:spPr>
          <a:xfrm>
            <a:off x="8502682" y="5102499"/>
            <a:ext cx="3460718"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Often the choice is between bankruptcy, (accelerated) rehabilitation and contractual debt restructuring.</a:t>
            </a:r>
          </a:p>
        </p:txBody>
      </p:sp>
      <p:sp>
        <p:nvSpPr>
          <p:cNvPr id="68" name="TextBox 38">
            <a:extLst>
              <a:ext uri="{FF2B5EF4-FFF2-40B4-BE49-F238E27FC236}">
                <a16:creationId xmlns:a16="http://schemas.microsoft.com/office/drawing/2014/main" xmlns="" id="{668596EC-B052-4373-AAB3-926755114F2D}"/>
              </a:ext>
            </a:extLst>
          </p:cNvPr>
          <p:cNvSpPr txBox="1"/>
          <p:nvPr/>
        </p:nvSpPr>
        <p:spPr>
          <a:xfrm>
            <a:off x="8292985" y="2025984"/>
            <a:ext cx="3667864" cy="369332"/>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1. Contribute to financial restructuring</a:t>
            </a:r>
          </a:p>
        </p:txBody>
      </p:sp>
      <p:sp>
        <p:nvSpPr>
          <p:cNvPr id="69" name="Subtitle 2">
            <a:extLst>
              <a:ext uri="{FF2B5EF4-FFF2-40B4-BE49-F238E27FC236}">
                <a16:creationId xmlns:a16="http://schemas.microsoft.com/office/drawing/2014/main" xmlns="" id="{137038A8-095B-4F12-B618-A83D07635F06}"/>
              </a:ext>
            </a:extLst>
          </p:cNvPr>
          <p:cNvSpPr txBox="1">
            <a:spLocks/>
          </p:cNvSpPr>
          <p:nvPr/>
        </p:nvSpPr>
        <p:spPr>
          <a:xfrm>
            <a:off x="8502681" y="2395316"/>
            <a:ext cx="3139041"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Contribute in the restoration the debtor's solvency through debt restructuring; or</a:t>
            </a:r>
          </a:p>
        </p:txBody>
      </p:sp>
      <p:sp>
        <p:nvSpPr>
          <p:cNvPr id="70" name="TextBox 40">
            <a:extLst>
              <a:ext uri="{FF2B5EF4-FFF2-40B4-BE49-F238E27FC236}">
                <a16:creationId xmlns:a16="http://schemas.microsoft.com/office/drawing/2014/main" xmlns="" id="{80C32724-4FB7-44FC-BA7A-F584A81CF91B}"/>
              </a:ext>
            </a:extLst>
          </p:cNvPr>
          <p:cNvSpPr txBox="1"/>
          <p:nvPr/>
        </p:nvSpPr>
        <p:spPr>
          <a:xfrm>
            <a:off x="8447552" y="3350130"/>
            <a:ext cx="3383170" cy="369332"/>
          </a:xfrm>
          <a:prstGeom prst="rect">
            <a:avLst/>
          </a:prstGeom>
          <a:noFill/>
        </p:spPr>
        <p:txBody>
          <a:bodyPr wrap="none" rtlCol="0" anchor="ctr" anchorCtr="0">
            <a:spAutoFit/>
          </a:bodyPr>
          <a:lstStyle/>
          <a:p>
            <a:r>
              <a:rPr lang="en-GB" b="1" dirty="0">
                <a:solidFill>
                  <a:srgbClr val="F95C2C"/>
                </a:solidFill>
                <a:latin typeface="+mj-lt"/>
                <a:ea typeface="League Spartan" charset="0"/>
                <a:cs typeface="Poppins" pitchFamily="2" charset="77"/>
              </a:rPr>
              <a:t>2.Collect at least some of the debts</a:t>
            </a:r>
          </a:p>
        </p:txBody>
      </p:sp>
      <p:sp>
        <p:nvSpPr>
          <p:cNvPr id="71" name="Subtitle 2">
            <a:extLst>
              <a:ext uri="{FF2B5EF4-FFF2-40B4-BE49-F238E27FC236}">
                <a16:creationId xmlns:a16="http://schemas.microsoft.com/office/drawing/2014/main" xmlns="" id="{A040C607-6976-45CD-8963-0302E006F692}"/>
              </a:ext>
            </a:extLst>
          </p:cNvPr>
          <p:cNvSpPr txBox="1">
            <a:spLocks/>
          </p:cNvSpPr>
          <p:nvPr/>
        </p:nvSpPr>
        <p:spPr>
          <a:xfrm>
            <a:off x="8495271" y="3770921"/>
            <a:ext cx="3259390"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Collect the debt as soon as possible, having often doomed the debtor to bankruptcy?</a:t>
            </a:r>
          </a:p>
        </p:txBody>
      </p:sp>
      <p:sp>
        <p:nvSpPr>
          <p:cNvPr id="72" name="Oval 42">
            <a:extLst>
              <a:ext uri="{FF2B5EF4-FFF2-40B4-BE49-F238E27FC236}">
                <a16:creationId xmlns:a16="http://schemas.microsoft.com/office/drawing/2014/main" xmlns="" id="{68EAEF29-F9B8-4195-93ED-C9C63581AFBB}"/>
              </a:ext>
            </a:extLst>
          </p:cNvPr>
          <p:cNvSpPr/>
          <p:nvPr/>
        </p:nvSpPr>
        <p:spPr>
          <a:xfrm>
            <a:off x="7699921" y="2433904"/>
            <a:ext cx="520504" cy="5205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3" name="Oval 43">
            <a:extLst>
              <a:ext uri="{FF2B5EF4-FFF2-40B4-BE49-F238E27FC236}">
                <a16:creationId xmlns:a16="http://schemas.microsoft.com/office/drawing/2014/main" xmlns="" id="{6C3A1E9A-2274-45FC-979C-00A786B7ACB7}"/>
              </a:ext>
            </a:extLst>
          </p:cNvPr>
          <p:cNvSpPr/>
          <p:nvPr/>
        </p:nvSpPr>
        <p:spPr>
          <a:xfrm>
            <a:off x="7699921" y="3645757"/>
            <a:ext cx="520504" cy="52050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4" name="Oval 44">
            <a:extLst>
              <a:ext uri="{FF2B5EF4-FFF2-40B4-BE49-F238E27FC236}">
                <a16:creationId xmlns:a16="http://schemas.microsoft.com/office/drawing/2014/main" xmlns="" id="{76830284-E2DD-490C-B1C5-02A4F0AEFD8C}"/>
              </a:ext>
            </a:extLst>
          </p:cNvPr>
          <p:cNvSpPr/>
          <p:nvPr/>
        </p:nvSpPr>
        <p:spPr>
          <a:xfrm>
            <a:off x="7699921" y="4879287"/>
            <a:ext cx="520504" cy="52050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5" name="Freeform 991">
            <a:extLst>
              <a:ext uri="{FF2B5EF4-FFF2-40B4-BE49-F238E27FC236}">
                <a16:creationId xmlns:a16="http://schemas.microsoft.com/office/drawing/2014/main" xmlns="" id="{EAD05D6E-DC3E-43DE-B19D-9D2DFB7B2E6F}"/>
              </a:ext>
            </a:extLst>
          </p:cNvPr>
          <p:cNvSpPr>
            <a:spLocks noChangeAspect="1" noChangeArrowheads="1"/>
          </p:cNvSpPr>
          <p:nvPr/>
        </p:nvSpPr>
        <p:spPr bwMode="auto">
          <a:xfrm>
            <a:off x="7820359" y="3770921"/>
            <a:ext cx="270175" cy="270175"/>
          </a:xfrm>
          <a:custGeom>
            <a:avLst/>
            <a:gdLst>
              <a:gd name="T0" fmla="*/ 532423 w 285390"/>
              <a:gd name="T1" fmla="*/ 729203 h 285390"/>
              <a:gd name="T2" fmla="*/ 501981 w 285390"/>
              <a:gd name="T3" fmla="*/ 680424 h 285390"/>
              <a:gd name="T4" fmla="*/ 447878 w 285390"/>
              <a:gd name="T5" fmla="*/ 680424 h 285390"/>
              <a:gd name="T6" fmla="*/ 417440 w 285390"/>
              <a:gd name="T7" fmla="*/ 729203 h 285390"/>
              <a:gd name="T8" fmla="*/ 474375 w 285390"/>
              <a:gd name="T9" fmla="*/ 620606 h 285390"/>
              <a:gd name="T10" fmla="*/ 603100 w 285390"/>
              <a:gd name="T11" fmla="*/ 702181 h 285390"/>
              <a:gd name="T12" fmla="*/ 632895 w 285390"/>
              <a:gd name="T13" fmla="*/ 702181 h 285390"/>
              <a:gd name="T14" fmla="*/ 474375 w 285390"/>
              <a:gd name="T15" fmla="*/ 591816 h 285390"/>
              <a:gd name="T16" fmla="*/ 612317 w 285390"/>
              <a:gd name="T17" fmla="*/ 490152 h 285390"/>
              <a:gd name="T18" fmla="*/ 342246 w 285390"/>
              <a:gd name="T19" fmla="*/ 459714 h 285390"/>
              <a:gd name="T20" fmla="*/ 327610 w 285390"/>
              <a:gd name="T21" fmla="*/ 474933 h 285390"/>
              <a:gd name="T22" fmla="*/ 556895 w 285390"/>
              <a:gd name="T23" fmla="*/ 472319 h 285390"/>
              <a:gd name="T24" fmla="*/ 610309 w 285390"/>
              <a:gd name="T25" fmla="*/ 409465 h 285390"/>
              <a:gd name="T26" fmla="*/ 340223 w 285390"/>
              <a:gd name="T27" fmla="*/ 535179 h 285390"/>
              <a:gd name="T28" fmla="*/ 610309 w 285390"/>
              <a:gd name="T29" fmla="*/ 380453 h 285390"/>
              <a:gd name="T30" fmla="*/ 528409 w 285390"/>
              <a:gd name="T31" fmla="*/ 472319 h 285390"/>
              <a:gd name="T32" fmla="*/ 421532 w 285390"/>
              <a:gd name="T33" fmla="*/ 472319 h 285390"/>
              <a:gd name="T34" fmla="*/ 340223 w 285390"/>
              <a:gd name="T35" fmla="*/ 380453 h 285390"/>
              <a:gd name="T36" fmla="*/ 105414 w 285390"/>
              <a:gd name="T37" fmla="*/ 921181 h 285390"/>
              <a:gd name="T38" fmla="*/ 265931 w 285390"/>
              <a:gd name="T39" fmla="*/ 844509 h 285390"/>
              <a:gd name="T40" fmla="*/ 727126 w 285390"/>
              <a:gd name="T41" fmla="*/ 921181 h 285390"/>
              <a:gd name="T42" fmla="*/ 579785 w 285390"/>
              <a:gd name="T43" fmla="*/ 316171 h 285390"/>
              <a:gd name="T44" fmla="*/ 721136 w 285390"/>
              <a:gd name="T45" fmla="*/ 328156 h 285390"/>
              <a:gd name="T46" fmla="*/ 143750 w 285390"/>
              <a:gd name="T47" fmla="*/ 298200 h 285390"/>
              <a:gd name="T48" fmla="*/ 143750 w 285390"/>
              <a:gd name="T49" fmla="*/ 298200 h 285390"/>
              <a:gd name="T50" fmla="*/ 693590 w 285390"/>
              <a:gd name="T51" fmla="*/ 313777 h 285390"/>
              <a:gd name="T52" fmla="*/ 800199 w 285390"/>
              <a:gd name="T53" fmla="*/ 397638 h 285390"/>
              <a:gd name="T54" fmla="*/ 921185 w 285390"/>
              <a:gd name="T55" fmla="*/ 181988 h 285390"/>
              <a:gd name="T56" fmla="*/ 28750 w 285390"/>
              <a:gd name="T57" fmla="*/ 282628 h 285390"/>
              <a:gd name="T58" fmla="*/ 115004 w 285390"/>
              <a:gd name="T59" fmla="*/ 282628 h 285390"/>
              <a:gd name="T60" fmla="*/ 295882 w 285390"/>
              <a:gd name="T61" fmla="*/ 299400 h 285390"/>
              <a:gd name="T62" fmla="*/ 406269 w 285390"/>
              <a:gd name="T63" fmla="*/ 162305 h 285390"/>
              <a:gd name="T64" fmla="*/ 440087 w 285390"/>
              <a:gd name="T65" fmla="*/ 196120 h 285390"/>
              <a:gd name="T66" fmla="*/ 129370 w 285390"/>
              <a:gd name="T67" fmla="*/ 153234 h 285390"/>
              <a:gd name="T68" fmla="*/ 579785 w 285390"/>
              <a:gd name="T69" fmla="*/ 287419 h 285390"/>
              <a:gd name="T70" fmla="*/ 935562 w 285390"/>
              <a:gd name="T71" fmla="*/ 153234 h 285390"/>
              <a:gd name="T72" fmla="*/ 840927 w 285390"/>
              <a:gd name="T73" fmla="*/ 464731 h 285390"/>
              <a:gd name="T74" fmla="*/ 858895 w 285390"/>
              <a:gd name="T75" fmla="*/ 949932 h 285390"/>
              <a:gd name="T76" fmla="*/ 674418 w 285390"/>
              <a:gd name="T77" fmla="*/ 873261 h 285390"/>
              <a:gd name="T78" fmla="*/ 231197 w 285390"/>
              <a:gd name="T79" fmla="*/ 949932 h 285390"/>
              <a:gd name="T80" fmla="*/ 76660 w 285390"/>
              <a:gd name="T81" fmla="*/ 609694 h 285390"/>
              <a:gd name="T82" fmla="*/ 0 w 285390"/>
              <a:gd name="T83" fmla="*/ 168810 h 285390"/>
              <a:gd name="T84" fmla="*/ 469073 w 285390"/>
              <a:gd name="T85" fmla="*/ 196120 h 285390"/>
              <a:gd name="T86" fmla="*/ 406269 w 285390"/>
              <a:gd name="T87" fmla="*/ 132098 h 285390"/>
              <a:gd name="T88" fmla="*/ 544863 w 285390"/>
              <a:gd name="T89" fmla="*/ 192020 h 285390"/>
              <a:gd name="T90" fmla="*/ 544863 w 285390"/>
              <a:gd name="T91" fmla="*/ 95110 h 285390"/>
              <a:gd name="T92" fmla="*/ 480847 w 285390"/>
              <a:gd name="T93" fmla="*/ 157331 h 285390"/>
              <a:gd name="T94" fmla="*/ 409442 w 285390"/>
              <a:gd name="T95" fmla="*/ 62809 h 285390"/>
              <a:gd name="T96" fmla="*/ 443260 w 285390"/>
              <a:gd name="T97" fmla="*/ 28989 h 285390"/>
              <a:gd name="T98" fmla="*/ 443260 w 285390"/>
              <a:gd name="T99" fmla="*/ 125613 h 2853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390" h="285390">
                <a:moveTo>
                  <a:pt x="155765" y="200025"/>
                </a:moveTo>
                <a:cubicBezTo>
                  <a:pt x="158051" y="200025"/>
                  <a:pt x="159956" y="201857"/>
                  <a:pt x="159956" y="204421"/>
                </a:cubicBezTo>
                <a:lnTo>
                  <a:pt x="159956" y="219076"/>
                </a:lnTo>
                <a:cubicBezTo>
                  <a:pt x="159956" y="221640"/>
                  <a:pt x="158051" y="223472"/>
                  <a:pt x="155765" y="223472"/>
                </a:cubicBezTo>
                <a:cubicBezTo>
                  <a:pt x="153098" y="223472"/>
                  <a:pt x="150812" y="221640"/>
                  <a:pt x="150812" y="219076"/>
                </a:cubicBezTo>
                <a:lnTo>
                  <a:pt x="150812" y="204421"/>
                </a:lnTo>
                <a:cubicBezTo>
                  <a:pt x="150812" y="201857"/>
                  <a:pt x="153098" y="200025"/>
                  <a:pt x="155765" y="200025"/>
                </a:cubicBezTo>
                <a:close/>
                <a:moveTo>
                  <a:pt x="129984" y="200025"/>
                </a:moveTo>
                <a:cubicBezTo>
                  <a:pt x="132651" y="200025"/>
                  <a:pt x="134556" y="201857"/>
                  <a:pt x="134556" y="204421"/>
                </a:cubicBezTo>
                <a:lnTo>
                  <a:pt x="134556" y="219076"/>
                </a:lnTo>
                <a:cubicBezTo>
                  <a:pt x="134556" y="221640"/>
                  <a:pt x="132651" y="223472"/>
                  <a:pt x="129984" y="223472"/>
                </a:cubicBezTo>
                <a:cubicBezTo>
                  <a:pt x="127317" y="223472"/>
                  <a:pt x="125412" y="221640"/>
                  <a:pt x="125412" y="219076"/>
                </a:cubicBezTo>
                <a:lnTo>
                  <a:pt x="125412" y="204421"/>
                </a:lnTo>
                <a:cubicBezTo>
                  <a:pt x="125412" y="201857"/>
                  <a:pt x="127317" y="200025"/>
                  <a:pt x="129984" y="200025"/>
                </a:cubicBezTo>
                <a:close/>
                <a:moveTo>
                  <a:pt x="142517" y="186450"/>
                </a:moveTo>
                <a:cubicBezTo>
                  <a:pt x="121748" y="186450"/>
                  <a:pt x="103844" y="197623"/>
                  <a:pt x="103844" y="210958"/>
                </a:cubicBezTo>
                <a:cubicBezTo>
                  <a:pt x="103844" y="224293"/>
                  <a:pt x="121748" y="235465"/>
                  <a:pt x="142517" y="235465"/>
                </a:cubicBezTo>
                <a:cubicBezTo>
                  <a:pt x="163644" y="235465"/>
                  <a:pt x="181190" y="224293"/>
                  <a:pt x="181190" y="210958"/>
                </a:cubicBezTo>
                <a:cubicBezTo>
                  <a:pt x="181190" y="197623"/>
                  <a:pt x="163644" y="186450"/>
                  <a:pt x="142517" y="186450"/>
                </a:cubicBezTo>
                <a:close/>
                <a:moveTo>
                  <a:pt x="142517" y="177800"/>
                </a:moveTo>
                <a:cubicBezTo>
                  <a:pt x="168657" y="177800"/>
                  <a:pt x="190142" y="192577"/>
                  <a:pt x="190142" y="210958"/>
                </a:cubicBezTo>
                <a:cubicBezTo>
                  <a:pt x="190142" y="229338"/>
                  <a:pt x="168657" y="244115"/>
                  <a:pt x="142517" y="244115"/>
                </a:cubicBezTo>
                <a:cubicBezTo>
                  <a:pt x="116377" y="244115"/>
                  <a:pt x="95250" y="229338"/>
                  <a:pt x="95250" y="210958"/>
                </a:cubicBezTo>
                <a:cubicBezTo>
                  <a:pt x="95250" y="192577"/>
                  <a:pt x="116377" y="177800"/>
                  <a:pt x="142517" y="177800"/>
                </a:cubicBezTo>
                <a:close/>
                <a:moveTo>
                  <a:pt x="183959" y="138113"/>
                </a:moveTo>
                <a:cubicBezTo>
                  <a:pt x="186245" y="138113"/>
                  <a:pt x="188531" y="140018"/>
                  <a:pt x="188531" y="142685"/>
                </a:cubicBezTo>
                <a:cubicBezTo>
                  <a:pt x="188531" y="144971"/>
                  <a:pt x="186245" y="147257"/>
                  <a:pt x="183959" y="147257"/>
                </a:cubicBezTo>
                <a:cubicBezTo>
                  <a:pt x="181292" y="147257"/>
                  <a:pt x="179387" y="144971"/>
                  <a:pt x="179387" y="142685"/>
                </a:cubicBezTo>
                <a:cubicBezTo>
                  <a:pt x="179387" y="140018"/>
                  <a:pt x="181292" y="138113"/>
                  <a:pt x="183959" y="138113"/>
                </a:cubicBezTo>
                <a:close/>
                <a:moveTo>
                  <a:pt x="102821" y="138113"/>
                </a:moveTo>
                <a:cubicBezTo>
                  <a:pt x="105019" y="138113"/>
                  <a:pt x="107583" y="140018"/>
                  <a:pt x="107583" y="142685"/>
                </a:cubicBezTo>
                <a:cubicBezTo>
                  <a:pt x="107583" y="144971"/>
                  <a:pt x="105019" y="147257"/>
                  <a:pt x="102821" y="147257"/>
                </a:cubicBezTo>
                <a:cubicBezTo>
                  <a:pt x="100623" y="147257"/>
                  <a:pt x="98425" y="144971"/>
                  <a:pt x="98425" y="142685"/>
                </a:cubicBezTo>
                <a:cubicBezTo>
                  <a:pt x="98425" y="140018"/>
                  <a:pt x="100623" y="138113"/>
                  <a:pt x="102821" y="138113"/>
                </a:cubicBezTo>
                <a:close/>
                <a:moveTo>
                  <a:pt x="183356" y="123016"/>
                </a:moveTo>
                <a:cubicBezTo>
                  <a:pt x="174441" y="123016"/>
                  <a:pt x="167309" y="131369"/>
                  <a:pt x="167309" y="141900"/>
                </a:cubicBezTo>
                <a:cubicBezTo>
                  <a:pt x="167309" y="152069"/>
                  <a:pt x="174441" y="160784"/>
                  <a:pt x="183356" y="160784"/>
                </a:cubicBezTo>
                <a:cubicBezTo>
                  <a:pt x="191915" y="160784"/>
                  <a:pt x="198690" y="152069"/>
                  <a:pt x="198690" y="141900"/>
                </a:cubicBezTo>
                <a:cubicBezTo>
                  <a:pt x="198690" y="131369"/>
                  <a:pt x="191915" y="123016"/>
                  <a:pt x="183356" y="123016"/>
                </a:cubicBezTo>
                <a:close/>
                <a:moveTo>
                  <a:pt x="102214" y="123016"/>
                </a:moveTo>
                <a:cubicBezTo>
                  <a:pt x="93592" y="123016"/>
                  <a:pt x="86408" y="131369"/>
                  <a:pt x="86408" y="141900"/>
                </a:cubicBezTo>
                <a:cubicBezTo>
                  <a:pt x="86408" y="152069"/>
                  <a:pt x="93592" y="160784"/>
                  <a:pt x="102214" y="160784"/>
                </a:cubicBezTo>
                <a:cubicBezTo>
                  <a:pt x="111194" y="160784"/>
                  <a:pt x="118020" y="152069"/>
                  <a:pt x="118020" y="141900"/>
                </a:cubicBezTo>
                <a:cubicBezTo>
                  <a:pt x="118020" y="131369"/>
                  <a:pt x="111194" y="123016"/>
                  <a:pt x="102214" y="123016"/>
                </a:cubicBezTo>
                <a:close/>
                <a:moveTo>
                  <a:pt x="183356" y="114300"/>
                </a:moveTo>
                <a:cubicBezTo>
                  <a:pt x="196551" y="114300"/>
                  <a:pt x="207606" y="126647"/>
                  <a:pt x="207606" y="141900"/>
                </a:cubicBezTo>
                <a:cubicBezTo>
                  <a:pt x="207606" y="157153"/>
                  <a:pt x="196551" y="169500"/>
                  <a:pt x="183356" y="169500"/>
                </a:cubicBezTo>
                <a:cubicBezTo>
                  <a:pt x="169805" y="169500"/>
                  <a:pt x="158750" y="157153"/>
                  <a:pt x="158750" y="141900"/>
                </a:cubicBezTo>
                <a:cubicBezTo>
                  <a:pt x="158750" y="126647"/>
                  <a:pt x="169805" y="114300"/>
                  <a:pt x="183356" y="114300"/>
                </a:cubicBezTo>
                <a:close/>
                <a:moveTo>
                  <a:pt x="102214" y="114300"/>
                </a:moveTo>
                <a:cubicBezTo>
                  <a:pt x="115864" y="114300"/>
                  <a:pt x="126641" y="126647"/>
                  <a:pt x="126641" y="141900"/>
                </a:cubicBezTo>
                <a:cubicBezTo>
                  <a:pt x="126641" y="157153"/>
                  <a:pt x="115864" y="169500"/>
                  <a:pt x="102214" y="169500"/>
                </a:cubicBezTo>
                <a:cubicBezTo>
                  <a:pt x="88923" y="169500"/>
                  <a:pt x="77787" y="157153"/>
                  <a:pt x="77787" y="141900"/>
                </a:cubicBezTo>
                <a:cubicBezTo>
                  <a:pt x="77787" y="126647"/>
                  <a:pt x="88923" y="114300"/>
                  <a:pt x="102214" y="114300"/>
                </a:cubicBezTo>
                <a:close/>
                <a:moveTo>
                  <a:pt x="111205" y="94988"/>
                </a:moveTo>
                <a:cubicBezTo>
                  <a:pt x="67299" y="94988"/>
                  <a:pt x="31670" y="134581"/>
                  <a:pt x="31670" y="183171"/>
                </a:cubicBezTo>
                <a:lnTo>
                  <a:pt x="31670" y="276752"/>
                </a:lnTo>
                <a:lnTo>
                  <a:pt x="66939" y="276752"/>
                </a:lnTo>
                <a:lnTo>
                  <a:pt x="75936" y="256236"/>
                </a:lnTo>
                <a:cubicBezTo>
                  <a:pt x="76296" y="254796"/>
                  <a:pt x="78095" y="253717"/>
                  <a:pt x="79895" y="253717"/>
                </a:cubicBezTo>
                <a:lnTo>
                  <a:pt x="205496" y="253717"/>
                </a:lnTo>
                <a:cubicBezTo>
                  <a:pt x="207295" y="253717"/>
                  <a:pt x="208734" y="254796"/>
                  <a:pt x="209454" y="256236"/>
                </a:cubicBezTo>
                <a:lnTo>
                  <a:pt x="218451" y="276752"/>
                </a:lnTo>
                <a:lnTo>
                  <a:pt x="253720" y="276752"/>
                </a:lnTo>
                <a:lnTo>
                  <a:pt x="253720" y="183171"/>
                </a:lnTo>
                <a:cubicBezTo>
                  <a:pt x="253720" y="134581"/>
                  <a:pt x="217732" y="94988"/>
                  <a:pt x="174185" y="94988"/>
                </a:cubicBezTo>
                <a:lnTo>
                  <a:pt x="111205" y="94988"/>
                </a:lnTo>
                <a:close/>
                <a:moveTo>
                  <a:pt x="241844" y="89589"/>
                </a:moveTo>
                <a:cubicBezTo>
                  <a:pt x="232487" y="90309"/>
                  <a:pt x="223850" y="93549"/>
                  <a:pt x="216652" y="98588"/>
                </a:cubicBezTo>
                <a:cubicBezTo>
                  <a:pt x="223130" y="102547"/>
                  <a:pt x="228888" y="107226"/>
                  <a:pt x="234286" y="112625"/>
                </a:cubicBezTo>
                <a:cubicBezTo>
                  <a:pt x="238245" y="105786"/>
                  <a:pt x="241484" y="98228"/>
                  <a:pt x="241844" y="89589"/>
                </a:cubicBezTo>
                <a:close/>
                <a:moveTo>
                  <a:pt x="43186" y="89589"/>
                </a:moveTo>
                <a:cubicBezTo>
                  <a:pt x="44266" y="98228"/>
                  <a:pt x="46785" y="105786"/>
                  <a:pt x="51104" y="112625"/>
                </a:cubicBezTo>
                <a:cubicBezTo>
                  <a:pt x="56502" y="107226"/>
                  <a:pt x="62260" y="102547"/>
                  <a:pt x="68378" y="98588"/>
                </a:cubicBezTo>
                <a:cubicBezTo>
                  <a:pt x="61180" y="93549"/>
                  <a:pt x="52543" y="90309"/>
                  <a:pt x="43186" y="89589"/>
                </a:cubicBezTo>
                <a:close/>
                <a:moveTo>
                  <a:pt x="246523" y="54676"/>
                </a:moveTo>
                <a:cubicBezTo>
                  <a:pt x="223490" y="54676"/>
                  <a:pt x="204056" y="69433"/>
                  <a:pt x="196498" y="89949"/>
                </a:cubicBezTo>
                <a:cubicBezTo>
                  <a:pt x="200457" y="91029"/>
                  <a:pt x="204416" y="92469"/>
                  <a:pt x="208375" y="94268"/>
                </a:cubicBezTo>
                <a:cubicBezTo>
                  <a:pt x="218811" y="85990"/>
                  <a:pt x="232127" y="80591"/>
                  <a:pt x="246523" y="80591"/>
                </a:cubicBezTo>
                <a:cubicBezTo>
                  <a:pt x="249042" y="80591"/>
                  <a:pt x="250841" y="82751"/>
                  <a:pt x="250841" y="84910"/>
                </a:cubicBezTo>
                <a:cubicBezTo>
                  <a:pt x="250841" y="97868"/>
                  <a:pt x="246882" y="109385"/>
                  <a:pt x="240405" y="119463"/>
                </a:cubicBezTo>
                <a:cubicBezTo>
                  <a:pt x="243284" y="123423"/>
                  <a:pt x="246163" y="127382"/>
                  <a:pt x="248682" y="131701"/>
                </a:cubicBezTo>
                <a:cubicBezTo>
                  <a:pt x="265237" y="122703"/>
                  <a:pt x="276753" y="105426"/>
                  <a:pt x="276753" y="84910"/>
                </a:cubicBezTo>
                <a:lnTo>
                  <a:pt x="276753" y="54676"/>
                </a:lnTo>
                <a:lnTo>
                  <a:pt x="246523" y="54676"/>
                </a:lnTo>
                <a:close/>
                <a:moveTo>
                  <a:pt x="8637" y="54676"/>
                </a:moveTo>
                <a:lnTo>
                  <a:pt x="8637" y="84910"/>
                </a:lnTo>
                <a:cubicBezTo>
                  <a:pt x="8637" y="105426"/>
                  <a:pt x="20153" y="122703"/>
                  <a:pt x="36348" y="131701"/>
                </a:cubicBezTo>
                <a:cubicBezTo>
                  <a:pt x="38868" y="127382"/>
                  <a:pt x="42106" y="123423"/>
                  <a:pt x="45345" y="119463"/>
                </a:cubicBezTo>
                <a:cubicBezTo>
                  <a:pt x="38508" y="109385"/>
                  <a:pt x="34549" y="97868"/>
                  <a:pt x="34549" y="84910"/>
                </a:cubicBezTo>
                <a:cubicBezTo>
                  <a:pt x="34549" y="82751"/>
                  <a:pt x="36348" y="80591"/>
                  <a:pt x="38868" y="80591"/>
                </a:cubicBezTo>
                <a:cubicBezTo>
                  <a:pt x="53263" y="80591"/>
                  <a:pt x="66579" y="85990"/>
                  <a:pt x="77015" y="94268"/>
                </a:cubicBezTo>
                <a:cubicBezTo>
                  <a:pt x="80974" y="92469"/>
                  <a:pt x="84933" y="91029"/>
                  <a:pt x="88892" y="89949"/>
                </a:cubicBezTo>
                <a:cubicBezTo>
                  <a:pt x="81334" y="69433"/>
                  <a:pt x="61900" y="54676"/>
                  <a:pt x="38868" y="54676"/>
                </a:cubicBezTo>
                <a:lnTo>
                  <a:pt x="8637" y="54676"/>
                </a:lnTo>
                <a:close/>
                <a:moveTo>
                  <a:pt x="122056" y="48760"/>
                </a:moveTo>
                <a:cubicBezTo>
                  <a:pt x="116613" y="48760"/>
                  <a:pt x="111895" y="53114"/>
                  <a:pt x="111895" y="58920"/>
                </a:cubicBezTo>
                <a:cubicBezTo>
                  <a:pt x="111895" y="64362"/>
                  <a:pt x="116613" y="68717"/>
                  <a:pt x="122056" y="68717"/>
                </a:cubicBezTo>
                <a:cubicBezTo>
                  <a:pt x="127862" y="68717"/>
                  <a:pt x="132216" y="64362"/>
                  <a:pt x="132216" y="58920"/>
                </a:cubicBezTo>
                <a:cubicBezTo>
                  <a:pt x="132216" y="53114"/>
                  <a:pt x="127862" y="48760"/>
                  <a:pt x="122056" y="48760"/>
                </a:cubicBezTo>
                <a:close/>
                <a:moveTo>
                  <a:pt x="4318" y="46038"/>
                </a:moveTo>
                <a:lnTo>
                  <a:pt x="38868" y="46038"/>
                </a:lnTo>
                <a:cubicBezTo>
                  <a:pt x="65859" y="46038"/>
                  <a:pt x="88892" y="63675"/>
                  <a:pt x="97529" y="87790"/>
                </a:cubicBezTo>
                <a:cubicBezTo>
                  <a:pt x="101848" y="87070"/>
                  <a:pt x="106526" y="86350"/>
                  <a:pt x="111205" y="86350"/>
                </a:cubicBezTo>
                <a:lnTo>
                  <a:pt x="174185" y="86350"/>
                </a:lnTo>
                <a:cubicBezTo>
                  <a:pt x="178864" y="86350"/>
                  <a:pt x="183542" y="87070"/>
                  <a:pt x="188221" y="87790"/>
                </a:cubicBezTo>
                <a:cubicBezTo>
                  <a:pt x="196138" y="63675"/>
                  <a:pt x="219531" y="46038"/>
                  <a:pt x="246523" y="46038"/>
                </a:cubicBezTo>
                <a:lnTo>
                  <a:pt x="281072" y="46038"/>
                </a:lnTo>
                <a:cubicBezTo>
                  <a:pt x="283231" y="46038"/>
                  <a:pt x="285390" y="47838"/>
                  <a:pt x="285390" y="50717"/>
                </a:cubicBezTo>
                <a:lnTo>
                  <a:pt x="285390" y="84910"/>
                </a:lnTo>
                <a:cubicBezTo>
                  <a:pt x="285390" y="108666"/>
                  <a:pt x="272075" y="129181"/>
                  <a:pt x="252641" y="139620"/>
                </a:cubicBezTo>
                <a:cubicBezTo>
                  <a:pt x="258759" y="152577"/>
                  <a:pt x="262358" y="167334"/>
                  <a:pt x="262358" y="183171"/>
                </a:cubicBezTo>
                <a:lnTo>
                  <a:pt x="262358" y="281071"/>
                </a:lnTo>
                <a:cubicBezTo>
                  <a:pt x="262358" y="283591"/>
                  <a:pt x="260198" y="285390"/>
                  <a:pt x="258039" y="285390"/>
                </a:cubicBezTo>
                <a:lnTo>
                  <a:pt x="215932" y="285390"/>
                </a:lnTo>
                <a:cubicBezTo>
                  <a:pt x="214133" y="285390"/>
                  <a:pt x="212693" y="284670"/>
                  <a:pt x="211614" y="282871"/>
                </a:cubicBezTo>
                <a:lnTo>
                  <a:pt x="202616" y="262355"/>
                </a:lnTo>
                <a:lnTo>
                  <a:pt x="82414" y="262355"/>
                </a:lnTo>
                <a:lnTo>
                  <a:pt x="73417" y="282871"/>
                </a:lnTo>
                <a:cubicBezTo>
                  <a:pt x="72697" y="284670"/>
                  <a:pt x="71257" y="285390"/>
                  <a:pt x="69458" y="285390"/>
                </a:cubicBezTo>
                <a:lnTo>
                  <a:pt x="27351" y="285390"/>
                </a:lnTo>
                <a:cubicBezTo>
                  <a:pt x="24832" y="285390"/>
                  <a:pt x="23032" y="283591"/>
                  <a:pt x="23032" y="281071"/>
                </a:cubicBezTo>
                <a:lnTo>
                  <a:pt x="23032" y="183171"/>
                </a:lnTo>
                <a:cubicBezTo>
                  <a:pt x="23032" y="167334"/>
                  <a:pt x="26631" y="152577"/>
                  <a:pt x="32390" y="139620"/>
                </a:cubicBezTo>
                <a:cubicBezTo>
                  <a:pt x="13316" y="129181"/>
                  <a:pt x="0" y="108666"/>
                  <a:pt x="0" y="84910"/>
                </a:cubicBezTo>
                <a:lnTo>
                  <a:pt x="0" y="50717"/>
                </a:lnTo>
                <a:cubicBezTo>
                  <a:pt x="0" y="47838"/>
                  <a:pt x="1799" y="46038"/>
                  <a:pt x="4318" y="46038"/>
                </a:cubicBezTo>
                <a:close/>
                <a:moveTo>
                  <a:pt x="122056" y="39688"/>
                </a:moveTo>
                <a:cubicBezTo>
                  <a:pt x="132579" y="39688"/>
                  <a:pt x="140924" y="48397"/>
                  <a:pt x="140924" y="58920"/>
                </a:cubicBezTo>
                <a:cubicBezTo>
                  <a:pt x="140924" y="69080"/>
                  <a:pt x="132579" y="77425"/>
                  <a:pt x="122056" y="77425"/>
                </a:cubicBezTo>
                <a:cubicBezTo>
                  <a:pt x="111895" y="77425"/>
                  <a:pt x="103187" y="69080"/>
                  <a:pt x="103187" y="58920"/>
                </a:cubicBezTo>
                <a:cubicBezTo>
                  <a:pt x="103187" y="48397"/>
                  <a:pt x="111895" y="39688"/>
                  <a:pt x="122056" y="39688"/>
                </a:cubicBezTo>
                <a:close/>
                <a:moveTo>
                  <a:pt x="163694" y="37202"/>
                </a:moveTo>
                <a:cubicBezTo>
                  <a:pt x="157888" y="37202"/>
                  <a:pt x="153171" y="41874"/>
                  <a:pt x="153171" y="47266"/>
                </a:cubicBezTo>
                <a:cubicBezTo>
                  <a:pt x="153171" y="53017"/>
                  <a:pt x="157888" y="57689"/>
                  <a:pt x="163694" y="57689"/>
                </a:cubicBezTo>
                <a:cubicBezTo>
                  <a:pt x="169137" y="57689"/>
                  <a:pt x="173491" y="53017"/>
                  <a:pt x="173491" y="47266"/>
                </a:cubicBezTo>
                <a:cubicBezTo>
                  <a:pt x="173491" y="41874"/>
                  <a:pt x="169137" y="37202"/>
                  <a:pt x="163694" y="37202"/>
                </a:cubicBezTo>
                <a:close/>
                <a:moveTo>
                  <a:pt x="163694" y="28575"/>
                </a:moveTo>
                <a:cubicBezTo>
                  <a:pt x="173854" y="28575"/>
                  <a:pt x="182199" y="37202"/>
                  <a:pt x="182199" y="47266"/>
                </a:cubicBezTo>
                <a:cubicBezTo>
                  <a:pt x="182199" y="57689"/>
                  <a:pt x="173854" y="66316"/>
                  <a:pt x="163694" y="66316"/>
                </a:cubicBezTo>
                <a:cubicBezTo>
                  <a:pt x="153171" y="66316"/>
                  <a:pt x="144462" y="57689"/>
                  <a:pt x="144462" y="47266"/>
                </a:cubicBezTo>
                <a:cubicBezTo>
                  <a:pt x="144462" y="37202"/>
                  <a:pt x="153171" y="28575"/>
                  <a:pt x="163694" y="28575"/>
                </a:cubicBezTo>
                <a:close/>
                <a:moveTo>
                  <a:pt x="133169" y="8709"/>
                </a:moveTo>
                <a:cubicBezTo>
                  <a:pt x="127726" y="8709"/>
                  <a:pt x="123009" y="13426"/>
                  <a:pt x="123009" y="18869"/>
                </a:cubicBezTo>
                <a:cubicBezTo>
                  <a:pt x="123009" y="24674"/>
                  <a:pt x="127726" y="29029"/>
                  <a:pt x="133169" y="29029"/>
                </a:cubicBezTo>
                <a:cubicBezTo>
                  <a:pt x="138975" y="29029"/>
                  <a:pt x="143329" y="24674"/>
                  <a:pt x="143329" y="18869"/>
                </a:cubicBezTo>
                <a:cubicBezTo>
                  <a:pt x="143329" y="13426"/>
                  <a:pt x="138975" y="8709"/>
                  <a:pt x="133169" y="8709"/>
                </a:cubicBezTo>
                <a:close/>
                <a:moveTo>
                  <a:pt x="133169" y="0"/>
                </a:moveTo>
                <a:cubicBezTo>
                  <a:pt x="143692" y="0"/>
                  <a:pt x="152037" y="8709"/>
                  <a:pt x="152037" y="18869"/>
                </a:cubicBezTo>
                <a:cubicBezTo>
                  <a:pt x="152037" y="29392"/>
                  <a:pt x="143692" y="37737"/>
                  <a:pt x="133169" y="37737"/>
                </a:cubicBezTo>
                <a:cubicBezTo>
                  <a:pt x="122646" y="37737"/>
                  <a:pt x="114300" y="29392"/>
                  <a:pt x="114300" y="18869"/>
                </a:cubicBezTo>
                <a:cubicBezTo>
                  <a:pt x="114300" y="8709"/>
                  <a:pt x="122646" y="0"/>
                  <a:pt x="133169" y="0"/>
                </a:cubicBezTo>
                <a:close/>
              </a:path>
            </a:pathLst>
          </a:custGeom>
          <a:solidFill>
            <a:schemeClr val="bg1"/>
          </a:solidFill>
          <a:ln>
            <a:noFill/>
          </a:ln>
          <a:effectLst/>
        </p:spPr>
        <p:txBody>
          <a:bodyPr anchor="ctr"/>
          <a:lstStyle/>
          <a:p>
            <a:endParaRPr lang="en-GB" sz="1600" dirty="0">
              <a:latin typeface="+mj-lt"/>
            </a:endParaRPr>
          </a:p>
        </p:txBody>
      </p:sp>
      <p:sp>
        <p:nvSpPr>
          <p:cNvPr id="76" name="Freeform 1004">
            <a:extLst>
              <a:ext uri="{FF2B5EF4-FFF2-40B4-BE49-F238E27FC236}">
                <a16:creationId xmlns:a16="http://schemas.microsoft.com/office/drawing/2014/main" xmlns="" id="{055A1FD5-0306-4806-976C-61DD24969DAF}"/>
              </a:ext>
            </a:extLst>
          </p:cNvPr>
          <p:cNvSpPr>
            <a:spLocks noChangeAspect="1" noChangeArrowheads="1"/>
          </p:cNvSpPr>
          <p:nvPr/>
        </p:nvSpPr>
        <p:spPr bwMode="auto">
          <a:xfrm>
            <a:off x="7825086" y="5004864"/>
            <a:ext cx="270175" cy="269349"/>
          </a:xfrm>
          <a:custGeom>
            <a:avLst/>
            <a:gdLst>
              <a:gd name="T0" fmla="*/ 540477 w 285390"/>
              <a:gd name="T1" fmla="*/ 863917 h 285391"/>
              <a:gd name="T2" fmla="*/ 540477 w 285390"/>
              <a:gd name="T3" fmla="*/ 894255 h 285391"/>
              <a:gd name="T4" fmla="*/ 391021 w 285390"/>
              <a:gd name="T5" fmla="*/ 879086 h 285391"/>
              <a:gd name="T6" fmla="*/ 28750 w 285390"/>
              <a:gd name="T7" fmla="*/ 831316 h 285391"/>
              <a:gd name="T8" fmla="*/ 71867 w 285390"/>
              <a:gd name="T9" fmla="*/ 918378 h 285391"/>
              <a:gd name="T10" fmla="*/ 921185 w 285390"/>
              <a:gd name="T11" fmla="*/ 875446 h 285391"/>
              <a:gd name="T12" fmla="*/ 28750 w 285390"/>
              <a:gd name="T13" fmla="*/ 831316 h 285391"/>
              <a:gd name="T14" fmla="*/ 35943 w 285390"/>
              <a:gd name="T15" fmla="*/ 803885 h 285391"/>
              <a:gd name="T16" fmla="*/ 849311 w 285390"/>
              <a:gd name="T17" fmla="*/ 660757 h 285391"/>
              <a:gd name="T18" fmla="*/ 678282 w 285390"/>
              <a:gd name="T19" fmla="*/ 431942 h 285391"/>
              <a:gd name="T20" fmla="*/ 703503 w 285390"/>
              <a:gd name="T21" fmla="*/ 517977 h 285391"/>
              <a:gd name="T22" fmla="*/ 703503 w 285390"/>
              <a:gd name="T23" fmla="*/ 431942 h 285391"/>
              <a:gd name="T24" fmla="*/ 241146 w 285390"/>
              <a:gd name="T25" fmla="*/ 431942 h 285391"/>
              <a:gd name="T26" fmla="*/ 241146 w 285390"/>
              <a:gd name="T27" fmla="*/ 517977 h 285391"/>
              <a:gd name="T28" fmla="*/ 265162 w 285390"/>
              <a:gd name="T29" fmla="*/ 431942 h 285391"/>
              <a:gd name="T30" fmla="*/ 579345 w 285390"/>
              <a:gd name="T31" fmla="*/ 374012 h 285391"/>
              <a:gd name="T32" fmla="*/ 579345 w 285390"/>
              <a:gd name="T33" fmla="*/ 404353 h 285391"/>
              <a:gd name="T34" fmla="*/ 579345 w 285390"/>
              <a:gd name="T35" fmla="*/ 374012 h 285391"/>
              <a:gd name="T36" fmla="*/ 595830 w 285390"/>
              <a:gd name="T37" fmla="*/ 320703 h 285391"/>
              <a:gd name="T38" fmla="*/ 565395 w 285390"/>
              <a:gd name="T39" fmla="*/ 320703 h 285391"/>
              <a:gd name="T40" fmla="*/ 579345 w 285390"/>
              <a:gd name="T41" fmla="*/ 242314 h 285391"/>
              <a:gd name="T42" fmla="*/ 579345 w 285390"/>
              <a:gd name="T43" fmla="*/ 272659 h 285391"/>
              <a:gd name="T44" fmla="*/ 579345 w 285390"/>
              <a:gd name="T45" fmla="*/ 242314 h 285391"/>
              <a:gd name="T46" fmla="*/ 495742 w 285390"/>
              <a:gd name="T47" fmla="*/ 517977 h 285391"/>
              <a:gd name="T48" fmla="*/ 564193 w 285390"/>
              <a:gd name="T49" fmla="*/ 455839 h 285391"/>
              <a:gd name="T50" fmla="*/ 593018 w 285390"/>
              <a:gd name="T51" fmla="*/ 455839 h 285391"/>
              <a:gd name="T52" fmla="*/ 650664 w 285390"/>
              <a:gd name="T53" fmla="*/ 517977 h 285391"/>
              <a:gd name="T54" fmla="*/ 625443 w 285390"/>
              <a:gd name="T55" fmla="*/ 202514 h 285391"/>
              <a:gd name="T56" fmla="*/ 400865 w 285390"/>
              <a:gd name="T57" fmla="*/ 202514 h 285391"/>
              <a:gd name="T58" fmla="*/ 466919 w 285390"/>
              <a:gd name="T59" fmla="*/ 517977 h 285391"/>
              <a:gd name="T60" fmla="*/ 400865 w 285390"/>
              <a:gd name="T61" fmla="*/ 202514 h 285391"/>
              <a:gd name="T62" fmla="*/ 293985 w 285390"/>
              <a:gd name="T63" fmla="*/ 226411 h 285391"/>
              <a:gd name="T64" fmla="*/ 370843 w 285390"/>
              <a:gd name="T65" fmla="*/ 517977 h 285391"/>
              <a:gd name="T66" fmla="*/ 318005 w 285390"/>
              <a:gd name="T67" fmla="*/ 202514 h 285391"/>
              <a:gd name="T68" fmla="*/ 625443 w 285390"/>
              <a:gd name="T69" fmla="*/ 173835 h 285391"/>
              <a:gd name="T70" fmla="*/ 678282 w 285390"/>
              <a:gd name="T71" fmla="*/ 403263 h 285391"/>
              <a:gd name="T72" fmla="*/ 775554 w 285390"/>
              <a:gd name="T73" fmla="*/ 476154 h 285391"/>
              <a:gd name="T74" fmla="*/ 241146 w 285390"/>
              <a:gd name="T75" fmla="*/ 546652 h 285391"/>
              <a:gd name="T76" fmla="*/ 241146 w 285390"/>
              <a:gd name="T77" fmla="*/ 403263 h 285391"/>
              <a:gd name="T78" fmla="*/ 265162 w 285390"/>
              <a:gd name="T79" fmla="*/ 226411 h 285391"/>
              <a:gd name="T80" fmla="*/ 148540 w 285390"/>
              <a:gd name="T81" fmla="*/ 29812 h 285391"/>
              <a:gd name="T82" fmla="*/ 105414 w 285390"/>
              <a:gd name="T83" fmla="*/ 632135 h 285391"/>
              <a:gd name="T84" fmla="*/ 844518 w 285390"/>
              <a:gd name="T85" fmla="*/ 72760 h 285391"/>
              <a:gd name="T86" fmla="*/ 148540 w 285390"/>
              <a:gd name="T87" fmla="*/ 29812 h 285391"/>
              <a:gd name="T88" fmla="*/ 801394 w 285390"/>
              <a:gd name="T89" fmla="*/ 0 h 285391"/>
              <a:gd name="T90" fmla="*/ 873272 w 285390"/>
              <a:gd name="T91" fmla="*/ 642866 h 285391"/>
              <a:gd name="T92" fmla="*/ 949932 w 285390"/>
              <a:gd name="T93" fmla="*/ 818196 h 285391"/>
              <a:gd name="T94" fmla="*/ 878061 w 285390"/>
              <a:gd name="T95" fmla="*/ 947005 h 285391"/>
              <a:gd name="T96" fmla="*/ 0 w 285390"/>
              <a:gd name="T97" fmla="*/ 875446 h 285391"/>
              <a:gd name="T98" fmla="*/ 1190 w 285390"/>
              <a:gd name="T99" fmla="*/ 812232 h 285391"/>
              <a:gd name="T100" fmla="*/ 76660 w 285390"/>
              <a:gd name="T101" fmla="*/ 72760 h 2853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1">
                <a:moveTo>
                  <a:pt x="121785" y="260350"/>
                </a:moveTo>
                <a:lnTo>
                  <a:pt x="162376" y="260350"/>
                </a:lnTo>
                <a:cubicBezTo>
                  <a:pt x="164531" y="260350"/>
                  <a:pt x="166328" y="262255"/>
                  <a:pt x="166328" y="264922"/>
                </a:cubicBezTo>
                <a:cubicBezTo>
                  <a:pt x="166328" y="267208"/>
                  <a:pt x="164531" y="269494"/>
                  <a:pt x="162376" y="269494"/>
                </a:cubicBezTo>
                <a:lnTo>
                  <a:pt x="121785" y="269494"/>
                </a:lnTo>
                <a:cubicBezTo>
                  <a:pt x="119271" y="269494"/>
                  <a:pt x="117475" y="267208"/>
                  <a:pt x="117475" y="264922"/>
                </a:cubicBezTo>
                <a:cubicBezTo>
                  <a:pt x="117475" y="262255"/>
                  <a:pt x="119271" y="260350"/>
                  <a:pt x="121785" y="260350"/>
                </a:cubicBezTo>
                <a:close/>
                <a:moveTo>
                  <a:pt x="8637" y="250526"/>
                </a:moveTo>
                <a:lnTo>
                  <a:pt x="8637" y="263825"/>
                </a:lnTo>
                <a:cubicBezTo>
                  <a:pt x="8637" y="270654"/>
                  <a:pt x="14395" y="276764"/>
                  <a:pt x="21593" y="276764"/>
                </a:cubicBezTo>
                <a:lnTo>
                  <a:pt x="263797" y="276764"/>
                </a:lnTo>
                <a:cubicBezTo>
                  <a:pt x="270995" y="276764"/>
                  <a:pt x="276753" y="270654"/>
                  <a:pt x="276753" y="263825"/>
                </a:cubicBezTo>
                <a:lnTo>
                  <a:pt x="276753" y="250526"/>
                </a:lnTo>
                <a:lnTo>
                  <a:pt x="8637" y="250526"/>
                </a:lnTo>
                <a:close/>
                <a:moveTo>
                  <a:pt x="30230" y="199127"/>
                </a:moveTo>
                <a:lnTo>
                  <a:pt x="10796" y="242259"/>
                </a:lnTo>
                <a:lnTo>
                  <a:pt x="274234" y="242259"/>
                </a:lnTo>
                <a:lnTo>
                  <a:pt x="255160" y="199127"/>
                </a:lnTo>
                <a:lnTo>
                  <a:pt x="30230" y="199127"/>
                </a:lnTo>
                <a:close/>
                <a:moveTo>
                  <a:pt x="203777" y="130170"/>
                </a:moveTo>
                <a:lnTo>
                  <a:pt x="203777" y="156098"/>
                </a:lnTo>
                <a:lnTo>
                  <a:pt x="211354" y="156098"/>
                </a:lnTo>
                <a:cubicBezTo>
                  <a:pt x="218209" y="156098"/>
                  <a:pt x="224342" y="150336"/>
                  <a:pt x="224342" y="143494"/>
                </a:cubicBezTo>
                <a:cubicBezTo>
                  <a:pt x="224342" y="136292"/>
                  <a:pt x="218209" y="130170"/>
                  <a:pt x="211354" y="130170"/>
                </a:cubicBezTo>
                <a:lnTo>
                  <a:pt x="203777" y="130170"/>
                </a:lnTo>
                <a:close/>
                <a:moveTo>
                  <a:pt x="72447" y="130170"/>
                </a:moveTo>
                <a:cubicBezTo>
                  <a:pt x="65232" y="130170"/>
                  <a:pt x="59459" y="136292"/>
                  <a:pt x="59459" y="143494"/>
                </a:cubicBezTo>
                <a:cubicBezTo>
                  <a:pt x="59459" y="150336"/>
                  <a:pt x="65232" y="156098"/>
                  <a:pt x="72447" y="156098"/>
                </a:cubicBezTo>
                <a:lnTo>
                  <a:pt x="79663" y="156098"/>
                </a:lnTo>
                <a:lnTo>
                  <a:pt x="79663" y="130170"/>
                </a:lnTo>
                <a:lnTo>
                  <a:pt x="72447" y="130170"/>
                </a:lnTo>
                <a:close/>
                <a:moveTo>
                  <a:pt x="174053" y="112713"/>
                </a:moveTo>
                <a:cubicBezTo>
                  <a:pt x="176720" y="112713"/>
                  <a:pt x="179006" y="114999"/>
                  <a:pt x="179006" y="117285"/>
                </a:cubicBezTo>
                <a:cubicBezTo>
                  <a:pt x="179006" y="119952"/>
                  <a:pt x="176720" y="121857"/>
                  <a:pt x="174053" y="121857"/>
                </a:cubicBezTo>
                <a:cubicBezTo>
                  <a:pt x="171767" y="121857"/>
                  <a:pt x="169862" y="119952"/>
                  <a:pt x="169862" y="117285"/>
                </a:cubicBezTo>
                <a:cubicBezTo>
                  <a:pt x="169862" y="114999"/>
                  <a:pt x="171767" y="112713"/>
                  <a:pt x="174053" y="112713"/>
                </a:cubicBezTo>
                <a:close/>
                <a:moveTo>
                  <a:pt x="174053" y="92075"/>
                </a:moveTo>
                <a:cubicBezTo>
                  <a:pt x="176720" y="92075"/>
                  <a:pt x="179006" y="93980"/>
                  <a:pt x="179006" y="96647"/>
                </a:cubicBezTo>
                <a:cubicBezTo>
                  <a:pt x="179006" y="99314"/>
                  <a:pt x="176720" y="101219"/>
                  <a:pt x="174053" y="101219"/>
                </a:cubicBezTo>
                <a:cubicBezTo>
                  <a:pt x="171767" y="101219"/>
                  <a:pt x="169862" y="99314"/>
                  <a:pt x="169862" y="96647"/>
                </a:cubicBezTo>
                <a:cubicBezTo>
                  <a:pt x="169862" y="93980"/>
                  <a:pt x="171767" y="92075"/>
                  <a:pt x="174053" y="92075"/>
                </a:cubicBezTo>
                <a:close/>
                <a:moveTo>
                  <a:pt x="174053" y="73025"/>
                </a:moveTo>
                <a:cubicBezTo>
                  <a:pt x="176720" y="73025"/>
                  <a:pt x="179006" y="75311"/>
                  <a:pt x="179006" y="77597"/>
                </a:cubicBezTo>
                <a:cubicBezTo>
                  <a:pt x="179006" y="79883"/>
                  <a:pt x="176720" y="82169"/>
                  <a:pt x="174053" y="82169"/>
                </a:cubicBezTo>
                <a:cubicBezTo>
                  <a:pt x="171767" y="82169"/>
                  <a:pt x="169862" y="79883"/>
                  <a:pt x="169862" y="77597"/>
                </a:cubicBezTo>
                <a:cubicBezTo>
                  <a:pt x="169862" y="75311"/>
                  <a:pt x="171767" y="73025"/>
                  <a:pt x="174053" y="73025"/>
                </a:cubicBezTo>
                <a:close/>
                <a:moveTo>
                  <a:pt x="148936" y="61030"/>
                </a:moveTo>
                <a:lnTo>
                  <a:pt x="148936" y="156098"/>
                </a:lnTo>
                <a:lnTo>
                  <a:pt x="169501" y="156098"/>
                </a:lnTo>
                <a:lnTo>
                  <a:pt x="169501" y="137372"/>
                </a:lnTo>
                <a:cubicBezTo>
                  <a:pt x="169501" y="134852"/>
                  <a:pt x="171306" y="133051"/>
                  <a:pt x="173470" y="133051"/>
                </a:cubicBezTo>
                <a:cubicBezTo>
                  <a:pt x="175996" y="133051"/>
                  <a:pt x="178161" y="134852"/>
                  <a:pt x="178161" y="137372"/>
                </a:cubicBezTo>
                <a:lnTo>
                  <a:pt x="178161" y="156098"/>
                </a:lnTo>
                <a:lnTo>
                  <a:pt x="195479" y="156098"/>
                </a:lnTo>
                <a:lnTo>
                  <a:pt x="195479" y="68232"/>
                </a:lnTo>
                <a:cubicBezTo>
                  <a:pt x="195479" y="64271"/>
                  <a:pt x="191871" y="61030"/>
                  <a:pt x="187902" y="61030"/>
                </a:cubicBezTo>
                <a:lnTo>
                  <a:pt x="148936" y="61030"/>
                </a:lnTo>
                <a:close/>
                <a:moveTo>
                  <a:pt x="120433" y="61030"/>
                </a:moveTo>
                <a:lnTo>
                  <a:pt x="120433" y="156098"/>
                </a:lnTo>
                <a:lnTo>
                  <a:pt x="140277" y="156098"/>
                </a:lnTo>
                <a:lnTo>
                  <a:pt x="140277" y="61030"/>
                </a:lnTo>
                <a:lnTo>
                  <a:pt x="120433" y="61030"/>
                </a:lnTo>
                <a:close/>
                <a:moveTo>
                  <a:pt x="95538" y="61030"/>
                </a:moveTo>
                <a:cubicBezTo>
                  <a:pt x="91570" y="61030"/>
                  <a:pt x="88322" y="64271"/>
                  <a:pt x="88322" y="68232"/>
                </a:cubicBezTo>
                <a:lnTo>
                  <a:pt x="88322" y="156098"/>
                </a:lnTo>
                <a:lnTo>
                  <a:pt x="111413" y="156098"/>
                </a:lnTo>
                <a:lnTo>
                  <a:pt x="111413" y="61030"/>
                </a:lnTo>
                <a:lnTo>
                  <a:pt x="95538" y="61030"/>
                </a:lnTo>
                <a:close/>
                <a:moveTo>
                  <a:pt x="95538" y="52388"/>
                </a:moveTo>
                <a:lnTo>
                  <a:pt x="187902" y="52388"/>
                </a:lnTo>
                <a:cubicBezTo>
                  <a:pt x="196922" y="52388"/>
                  <a:pt x="203777" y="59590"/>
                  <a:pt x="203777" y="68232"/>
                </a:cubicBezTo>
                <a:lnTo>
                  <a:pt x="203777" y="121528"/>
                </a:lnTo>
                <a:lnTo>
                  <a:pt x="211354" y="121528"/>
                </a:lnTo>
                <a:cubicBezTo>
                  <a:pt x="223260" y="121528"/>
                  <a:pt x="233001" y="131251"/>
                  <a:pt x="233001" y="143494"/>
                </a:cubicBezTo>
                <a:cubicBezTo>
                  <a:pt x="233001" y="155017"/>
                  <a:pt x="223260" y="164740"/>
                  <a:pt x="211354" y="164740"/>
                </a:cubicBezTo>
                <a:lnTo>
                  <a:pt x="72447" y="164740"/>
                </a:lnTo>
                <a:cubicBezTo>
                  <a:pt x="60541" y="164740"/>
                  <a:pt x="50800" y="155017"/>
                  <a:pt x="50800" y="143494"/>
                </a:cubicBezTo>
                <a:cubicBezTo>
                  <a:pt x="50800" y="131251"/>
                  <a:pt x="60541" y="121528"/>
                  <a:pt x="72447" y="121528"/>
                </a:cubicBezTo>
                <a:lnTo>
                  <a:pt x="79663" y="121528"/>
                </a:lnTo>
                <a:lnTo>
                  <a:pt x="79663" y="68232"/>
                </a:lnTo>
                <a:cubicBezTo>
                  <a:pt x="79663" y="59590"/>
                  <a:pt x="86879" y="52388"/>
                  <a:pt x="95538" y="52388"/>
                </a:cubicBezTo>
                <a:close/>
                <a:moveTo>
                  <a:pt x="44626" y="8986"/>
                </a:moveTo>
                <a:cubicBezTo>
                  <a:pt x="37788" y="8986"/>
                  <a:pt x="31670" y="14737"/>
                  <a:pt x="31670" y="21925"/>
                </a:cubicBezTo>
                <a:lnTo>
                  <a:pt x="31670" y="190500"/>
                </a:lnTo>
                <a:lnTo>
                  <a:pt x="253720" y="190500"/>
                </a:lnTo>
                <a:lnTo>
                  <a:pt x="253720" y="21925"/>
                </a:lnTo>
                <a:cubicBezTo>
                  <a:pt x="253720" y="14737"/>
                  <a:pt x="247962" y="8986"/>
                  <a:pt x="240764" y="8986"/>
                </a:cubicBezTo>
                <a:lnTo>
                  <a:pt x="44626" y="8986"/>
                </a:lnTo>
                <a:close/>
                <a:moveTo>
                  <a:pt x="44626" y="0"/>
                </a:moveTo>
                <a:lnTo>
                  <a:pt x="240764" y="0"/>
                </a:lnTo>
                <a:cubicBezTo>
                  <a:pt x="252641" y="0"/>
                  <a:pt x="262358" y="9704"/>
                  <a:pt x="262358" y="21925"/>
                </a:cubicBezTo>
                <a:lnTo>
                  <a:pt x="262358" y="193735"/>
                </a:lnTo>
                <a:lnTo>
                  <a:pt x="285030" y="244775"/>
                </a:lnTo>
                <a:cubicBezTo>
                  <a:pt x="285390" y="245134"/>
                  <a:pt x="285390" y="245853"/>
                  <a:pt x="285390" y="246572"/>
                </a:cubicBezTo>
                <a:lnTo>
                  <a:pt x="285390" y="263825"/>
                </a:lnTo>
                <a:cubicBezTo>
                  <a:pt x="285390" y="275686"/>
                  <a:pt x="275673" y="285391"/>
                  <a:pt x="263797" y="285391"/>
                </a:cubicBezTo>
                <a:lnTo>
                  <a:pt x="21593" y="285391"/>
                </a:lnTo>
                <a:cubicBezTo>
                  <a:pt x="9717" y="285391"/>
                  <a:pt x="0" y="275686"/>
                  <a:pt x="0" y="263825"/>
                </a:cubicBezTo>
                <a:lnTo>
                  <a:pt x="0" y="246572"/>
                </a:lnTo>
                <a:cubicBezTo>
                  <a:pt x="0" y="245853"/>
                  <a:pt x="0" y="245134"/>
                  <a:pt x="360" y="244775"/>
                </a:cubicBezTo>
                <a:lnTo>
                  <a:pt x="23032" y="193735"/>
                </a:lnTo>
                <a:lnTo>
                  <a:pt x="23032" y="21925"/>
                </a:lnTo>
                <a:cubicBezTo>
                  <a:pt x="23032" y="9704"/>
                  <a:pt x="32749" y="0"/>
                  <a:pt x="44626" y="0"/>
                </a:cubicBezTo>
                <a:close/>
              </a:path>
            </a:pathLst>
          </a:custGeom>
          <a:solidFill>
            <a:schemeClr val="bg1"/>
          </a:solidFill>
          <a:ln>
            <a:noFill/>
          </a:ln>
          <a:effectLst/>
        </p:spPr>
        <p:txBody>
          <a:bodyPr anchor="ctr"/>
          <a:lstStyle/>
          <a:p>
            <a:endParaRPr lang="en-GB" sz="1600" dirty="0">
              <a:latin typeface="+mj-lt"/>
            </a:endParaRPr>
          </a:p>
        </p:txBody>
      </p:sp>
      <p:sp>
        <p:nvSpPr>
          <p:cNvPr id="77" name="Freeform 1009">
            <a:extLst>
              <a:ext uri="{FF2B5EF4-FFF2-40B4-BE49-F238E27FC236}">
                <a16:creationId xmlns:a16="http://schemas.microsoft.com/office/drawing/2014/main" xmlns="" id="{114DB682-C71F-4AAC-A332-DB42F2F3753C}"/>
              </a:ext>
            </a:extLst>
          </p:cNvPr>
          <p:cNvSpPr>
            <a:spLocks noChangeAspect="1" noChangeArrowheads="1"/>
          </p:cNvSpPr>
          <p:nvPr/>
        </p:nvSpPr>
        <p:spPr bwMode="auto">
          <a:xfrm>
            <a:off x="7825086" y="2551445"/>
            <a:ext cx="270175" cy="270176"/>
          </a:xfrm>
          <a:custGeom>
            <a:avLst/>
            <a:gdLst>
              <a:gd name="T0" fmla="*/ 716343 w 285390"/>
              <a:gd name="T1" fmla="*/ 905477 h 284852"/>
              <a:gd name="T2" fmla="*/ 701970 w 285390"/>
              <a:gd name="T3" fmla="*/ 784020 h 284852"/>
              <a:gd name="T4" fmla="*/ 595903 w 285390"/>
              <a:gd name="T5" fmla="*/ 614444 h 284852"/>
              <a:gd name="T6" fmla="*/ 306476 w 285390"/>
              <a:gd name="T7" fmla="*/ 614444 h 284852"/>
              <a:gd name="T8" fmla="*/ 243373 w 285390"/>
              <a:gd name="T9" fmla="*/ 599000 h 284852"/>
              <a:gd name="T10" fmla="*/ 109467 w 285390"/>
              <a:gd name="T11" fmla="*/ 629893 h 284852"/>
              <a:gd name="T12" fmla="*/ 701970 w 285390"/>
              <a:gd name="T13" fmla="*/ 550815 h 284852"/>
              <a:gd name="T14" fmla="*/ 688792 w 285390"/>
              <a:gd name="T15" fmla="*/ 757300 h 284852"/>
              <a:gd name="T16" fmla="*/ 759471 w 285390"/>
              <a:gd name="T17" fmla="*/ 565387 h 284852"/>
              <a:gd name="T18" fmla="*/ 433012 w 285390"/>
              <a:gd name="T19" fmla="*/ 486343 h 284852"/>
              <a:gd name="T20" fmla="*/ 581526 w 285390"/>
              <a:gd name="T21" fmla="*/ 517243 h 284852"/>
              <a:gd name="T22" fmla="*/ 433012 w 285390"/>
              <a:gd name="T23" fmla="*/ 486343 h 284852"/>
              <a:gd name="T24" fmla="*/ 368677 w 285390"/>
              <a:gd name="T25" fmla="*/ 500501 h 284852"/>
              <a:gd name="T26" fmla="*/ 227213 w 285390"/>
              <a:gd name="T27" fmla="*/ 500501 h 284852"/>
              <a:gd name="T28" fmla="*/ 486489 w 285390"/>
              <a:gd name="T29" fmla="*/ 368328 h 284852"/>
              <a:gd name="T30" fmla="*/ 283797 w 285390"/>
              <a:gd name="T31" fmla="*/ 399221 h 284852"/>
              <a:gd name="T32" fmla="*/ 283797 w 285390"/>
              <a:gd name="T33" fmla="*/ 250306 h 284852"/>
              <a:gd name="T34" fmla="*/ 486489 w 285390"/>
              <a:gd name="T35" fmla="*/ 276011 h 284852"/>
              <a:gd name="T36" fmla="*/ 283797 w 285390"/>
              <a:gd name="T37" fmla="*/ 250306 h 284852"/>
              <a:gd name="T38" fmla="*/ 164536 w 285390"/>
              <a:gd name="T39" fmla="*/ 235122 h 284852"/>
              <a:gd name="T40" fmla="*/ 183927 w 285390"/>
              <a:gd name="T41" fmla="*/ 282149 h 284852"/>
              <a:gd name="T42" fmla="*/ 149991 w 285390"/>
              <a:gd name="T43" fmla="*/ 324352 h 284852"/>
              <a:gd name="T44" fmla="*/ 164536 w 285390"/>
              <a:gd name="T45" fmla="*/ 454573 h 284852"/>
              <a:gd name="T46" fmla="*/ 135445 w 285390"/>
              <a:gd name="T47" fmla="*/ 441311 h 284852"/>
              <a:gd name="T48" fmla="*/ 116055 w 285390"/>
              <a:gd name="T49" fmla="*/ 394284 h 284852"/>
              <a:gd name="T50" fmla="*/ 149991 w 285390"/>
              <a:gd name="T51" fmla="*/ 353295 h 284852"/>
              <a:gd name="T52" fmla="*/ 135445 w 285390"/>
              <a:gd name="T53" fmla="*/ 221860 h 284852"/>
              <a:gd name="T54" fmla="*/ 673219 w 285390"/>
              <a:gd name="T55" fmla="*/ 119637 h 284852"/>
              <a:gd name="T56" fmla="*/ 745094 w 285390"/>
              <a:gd name="T57" fmla="*/ 525311 h 284852"/>
              <a:gd name="T58" fmla="*/ 731915 w 285390"/>
              <a:gd name="T59" fmla="*/ 103846 h 284852"/>
              <a:gd name="T60" fmla="*/ 700775 w 285390"/>
              <a:gd name="T61" fmla="*/ 33399 h 284852"/>
              <a:gd name="T62" fmla="*/ 733118 w 285390"/>
              <a:gd name="T63" fmla="*/ 33399 h 284852"/>
              <a:gd name="T64" fmla="*/ 689988 w 285390"/>
              <a:gd name="T65" fmla="*/ 5462 h 284852"/>
              <a:gd name="T66" fmla="*/ 761864 w 285390"/>
              <a:gd name="T67" fmla="*/ 23678 h 284852"/>
              <a:gd name="T68" fmla="*/ 788219 w 285390"/>
              <a:gd name="T69" fmla="*/ 109923 h 284852"/>
              <a:gd name="T70" fmla="*/ 949932 w 285390"/>
              <a:gd name="T71" fmla="*/ 147574 h 284852"/>
              <a:gd name="T72" fmla="*/ 832542 w 285390"/>
              <a:gd name="T73" fmla="*/ 765802 h 284852"/>
              <a:gd name="T74" fmla="*/ 921185 w 285390"/>
              <a:gd name="T75" fmla="*/ 736651 h 284852"/>
              <a:gd name="T76" fmla="*/ 788219 w 285390"/>
              <a:gd name="T77" fmla="*/ 790090 h 284852"/>
              <a:gd name="T78" fmla="*/ 716343 w 285390"/>
              <a:gd name="T79" fmla="*/ 962567 h 284852"/>
              <a:gd name="T80" fmla="*/ 645670 w 285390"/>
              <a:gd name="T81" fmla="*/ 790090 h 284852"/>
              <a:gd name="T82" fmla="*/ 0 w 285390"/>
              <a:gd name="T83" fmla="*/ 751224 h 284852"/>
              <a:gd name="T84" fmla="*/ 524683 w 285390"/>
              <a:gd name="T85" fmla="*/ 132997 h 284852"/>
              <a:gd name="T86" fmla="*/ 28750 w 285390"/>
              <a:gd name="T87" fmla="*/ 162148 h 284852"/>
              <a:gd name="T88" fmla="*/ 645670 w 285390"/>
              <a:gd name="T89" fmla="*/ 125709 h 284852"/>
              <a:gd name="T90" fmla="*/ 582179 w 285390"/>
              <a:gd name="T91" fmla="*/ 391704 h 284852"/>
              <a:gd name="T92" fmla="*/ 655252 w 285390"/>
              <a:gd name="T93" fmla="*/ 95344 h 284852"/>
              <a:gd name="T94" fmla="*/ 679209 w 285390"/>
              <a:gd name="T95" fmla="*/ 10329 h 2848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0" h="284852">
                <a:moveTo>
                  <a:pt x="210894" y="232015"/>
                </a:moveTo>
                <a:lnTo>
                  <a:pt x="203336" y="235969"/>
                </a:lnTo>
                <a:lnTo>
                  <a:pt x="215212" y="267958"/>
                </a:lnTo>
                <a:lnTo>
                  <a:pt x="227089" y="235969"/>
                </a:lnTo>
                <a:lnTo>
                  <a:pt x="219891" y="232015"/>
                </a:lnTo>
                <a:cubicBezTo>
                  <a:pt x="217012" y="230577"/>
                  <a:pt x="213773" y="230577"/>
                  <a:pt x="210894" y="232015"/>
                </a:cubicBezTo>
                <a:close/>
                <a:moveTo>
                  <a:pt x="96387" y="177261"/>
                </a:moveTo>
                <a:lnTo>
                  <a:pt x="174716" y="177261"/>
                </a:lnTo>
                <a:cubicBezTo>
                  <a:pt x="177231" y="177261"/>
                  <a:pt x="179028" y="179166"/>
                  <a:pt x="179028" y="181833"/>
                </a:cubicBezTo>
                <a:cubicBezTo>
                  <a:pt x="179028" y="184119"/>
                  <a:pt x="177231" y="186405"/>
                  <a:pt x="174716" y="186405"/>
                </a:cubicBezTo>
                <a:lnTo>
                  <a:pt x="96387" y="186405"/>
                </a:lnTo>
                <a:cubicBezTo>
                  <a:pt x="94231" y="186405"/>
                  <a:pt x="92075" y="184119"/>
                  <a:pt x="92075" y="181833"/>
                </a:cubicBezTo>
                <a:cubicBezTo>
                  <a:pt x="92075" y="179166"/>
                  <a:pt x="94231" y="177261"/>
                  <a:pt x="96387" y="177261"/>
                </a:cubicBezTo>
                <a:close/>
                <a:moveTo>
                  <a:pt x="32886" y="177261"/>
                </a:moveTo>
                <a:lnTo>
                  <a:pt x="73117" y="177261"/>
                </a:lnTo>
                <a:cubicBezTo>
                  <a:pt x="75632" y="177261"/>
                  <a:pt x="77428" y="179166"/>
                  <a:pt x="77428" y="181833"/>
                </a:cubicBezTo>
                <a:cubicBezTo>
                  <a:pt x="77428" y="184119"/>
                  <a:pt x="75632" y="186405"/>
                  <a:pt x="73117" y="186405"/>
                </a:cubicBezTo>
                <a:lnTo>
                  <a:pt x="32886" y="186405"/>
                </a:lnTo>
                <a:cubicBezTo>
                  <a:pt x="30731" y="186405"/>
                  <a:pt x="28575" y="184119"/>
                  <a:pt x="28575" y="181833"/>
                </a:cubicBezTo>
                <a:cubicBezTo>
                  <a:pt x="28575" y="179166"/>
                  <a:pt x="30731" y="177261"/>
                  <a:pt x="32886" y="177261"/>
                </a:cubicBezTo>
                <a:close/>
                <a:moveTo>
                  <a:pt x="210894" y="163003"/>
                </a:moveTo>
                <a:lnTo>
                  <a:pt x="202257" y="167316"/>
                </a:lnTo>
                <a:lnTo>
                  <a:pt x="202257" y="226624"/>
                </a:lnTo>
                <a:lnTo>
                  <a:pt x="206935" y="224107"/>
                </a:lnTo>
                <a:cubicBezTo>
                  <a:pt x="212333" y="221591"/>
                  <a:pt x="218451" y="221591"/>
                  <a:pt x="223850" y="224107"/>
                </a:cubicBezTo>
                <a:lnTo>
                  <a:pt x="228168" y="226624"/>
                </a:lnTo>
                <a:lnTo>
                  <a:pt x="228168" y="167316"/>
                </a:lnTo>
                <a:lnTo>
                  <a:pt x="219891" y="163003"/>
                </a:lnTo>
                <a:cubicBezTo>
                  <a:pt x="217012" y="161565"/>
                  <a:pt x="213773" y="161565"/>
                  <a:pt x="210894" y="163003"/>
                </a:cubicBezTo>
                <a:close/>
                <a:moveTo>
                  <a:pt x="130090" y="143923"/>
                </a:moveTo>
                <a:lnTo>
                  <a:pt x="174709" y="143923"/>
                </a:lnTo>
                <a:cubicBezTo>
                  <a:pt x="177228" y="143923"/>
                  <a:pt x="179027" y="145828"/>
                  <a:pt x="179027" y="148114"/>
                </a:cubicBezTo>
                <a:cubicBezTo>
                  <a:pt x="179027" y="150781"/>
                  <a:pt x="177228" y="153067"/>
                  <a:pt x="174709" y="153067"/>
                </a:cubicBezTo>
                <a:lnTo>
                  <a:pt x="130090" y="153067"/>
                </a:lnTo>
                <a:cubicBezTo>
                  <a:pt x="127571" y="153067"/>
                  <a:pt x="125412" y="150781"/>
                  <a:pt x="125412" y="148114"/>
                </a:cubicBezTo>
                <a:cubicBezTo>
                  <a:pt x="125412" y="145828"/>
                  <a:pt x="127571" y="143923"/>
                  <a:pt x="130090" y="143923"/>
                </a:cubicBezTo>
                <a:close/>
                <a:moveTo>
                  <a:pt x="72621" y="143923"/>
                </a:moveTo>
                <a:lnTo>
                  <a:pt x="106766" y="143923"/>
                </a:lnTo>
                <a:cubicBezTo>
                  <a:pt x="108946" y="143923"/>
                  <a:pt x="110762" y="145828"/>
                  <a:pt x="110762" y="148114"/>
                </a:cubicBezTo>
                <a:cubicBezTo>
                  <a:pt x="110762" y="150781"/>
                  <a:pt x="108946" y="153067"/>
                  <a:pt x="106766" y="153067"/>
                </a:cubicBezTo>
                <a:lnTo>
                  <a:pt x="72621" y="153067"/>
                </a:lnTo>
                <a:cubicBezTo>
                  <a:pt x="70442" y="153067"/>
                  <a:pt x="68262" y="150781"/>
                  <a:pt x="68262" y="148114"/>
                </a:cubicBezTo>
                <a:cubicBezTo>
                  <a:pt x="68262" y="145828"/>
                  <a:pt x="70442" y="143923"/>
                  <a:pt x="72621" y="143923"/>
                </a:cubicBezTo>
                <a:close/>
                <a:moveTo>
                  <a:pt x="85261" y="108998"/>
                </a:moveTo>
                <a:lnTo>
                  <a:pt x="146156" y="108998"/>
                </a:lnTo>
                <a:cubicBezTo>
                  <a:pt x="148663" y="108998"/>
                  <a:pt x="150454" y="111284"/>
                  <a:pt x="150454" y="113951"/>
                </a:cubicBezTo>
                <a:cubicBezTo>
                  <a:pt x="150454" y="116237"/>
                  <a:pt x="148663" y="118142"/>
                  <a:pt x="146156" y="118142"/>
                </a:cubicBezTo>
                <a:lnTo>
                  <a:pt x="85261" y="118142"/>
                </a:lnTo>
                <a:cubicBezTo>
                  <a:pt x="82753" y="118142"/>
                  <a:pt x="80962" y="116237"/>
                  <a:pt x="80962" y="113951"/>
                </a:cubicBezTo>
                <a:cubicBezTo>
                  <a:pt x="80962" y="111284"/>
                  <a:pt x="82753" y="108998"/>
                  <a:pt x="85261" y="108998"/>
                </a:cubicBezTo>
                <a:close/>
                <a:moveTo>
                  <a:pt x="85261" y="74073"/>
                </a:moveTo>
                <a:lnTo>
                  <a:pt x="146156" y="74073"/>
                </a:lnTo>
                <a:cubicBezTo>
                  <a:pt x="148663" y="74073"/>
                  <a:pt x="150454" y="75727"/>
                  <a:pt x="150454" y="77711"/>
                </a:cubicBezTo>
                <a:cubicBezTo>
                  <a:pt x="150454" y="80026"/>
                  <a:pt x="148663" y="81680"/>
                  <a:pt x="146156" y="81680"/>
                </a:cubicBezTo>
                <a:lnTo>
                  <a:pt x="85261" y="81680"/>
                </a:lnTo>
                <a:cubicBezTo>
                  <a:pt x="82753" y="81680"/>
                  <a:pt x="80962" y="80026"/>
                  <a:pt x="80962" y="77711"/>
                </a:cubicBezTo>
                <a:cubicBezTo>
                  <a:pt x="80962" y="75727"/>
                  <a:pt x="82753" y="74073"/>
                  <a:pt x="85261" y="74073"/>
                </a:cubicBezTo>
                <a:close/>
                <a:moveTo>
                  <a:pt x="45062" y="61373"/>
                </a:moveTo>
                <a:cubicBezTo>
                  <a:pt x="47610" y="61373"/>
                  <a:pt x="49431" y="63514"/>
                  <a:pt x="49431" y="65655"/>
                </a:cubicBezTo>
                <a:lnTo>
                  <a:pt x="49431" y="69580"/>
                </a:lnTo>
                <a:cubicBezTo>
                  <a:pt x="55621" y="70650"/>
                  <a:pt x="60718" y="74575"/>
                  <a:pt x="63267" y="80285"/>
                </a:cubicBezTo>
                <a:cubicBezTo>
                  <a:pt x="64359" y="82069"/>
                  <a:pt x="63267" y="84923"/>
                  <a:pt x="60718" y="85637"/>
                </a:cubicBezTo>
                <a:cubicBezTo>
                  <a:pt x="58533" y="86707"/>
                  <a:pt x="55985" y="85637"/>
                  <a:pt x="55257" y="83496"/>
                </a:cubicBezTo>
                <a:cubicBezTo>
                  <a:pt x="53436" y="79928"/>
                  <a:pt x="49431" y="77430"/>
                  <a:pt x="45062" y="77430"/>
                </a:cubicBezTo>
                <a:cubicBezTo>
                  <a:pt x="39236" y="77430"/>
                  <a:pt x="34503" y="81712"/>
                  <a:pt x="34503" y="86707"/>
                </a:cubicBezTo>
                <a:cubicBezTo>
                  <a:pt x="34503" y="92773"/>
                  <a:pt x="38144" y="95985"/>
                  <a:pt x="45062" y="95985"/>
                </a:cubicBezTo>
                <a:cubicBezTo>
                  <a:pt x="59626" y="95985"/>
                  <a:pt x="64723" y="104905"/>
                  <a:pt x="64723" y="113469"/>
                </a:cubicBezTo>
                <a:cubicBezTo>
                  <a:pt x="64723" y="121676"/>
                  <a:pt x="57805" y="128813"/>
                  <a:pt x="49431" y="130954"/>
                </a:cubicBezTo>
                <a:lnTo>
                  <a:pt x="49431" y="134522"/>
                </a:lnTo>
                <a:cubicBezTo>
                  <a:pt x="49431" y="136663"/>
                  <a:pt x="47610" y="138804"/>
                  <a:pt x="45062" y="138804"/>
                </a:cubicBezTo>
                <a:cubicBezTo>
                  <a:pt x="42513" y="138804"/>
                  <a:pt x="40692" y="136663"/>
                  <a:pt x="40692" y="134522"/>
                </a:cubicBezTo>
                <a:lnTo>
                  <a:pt x="40692" y="130597"/>
                </a:lnTo>
                <a:cubicBezTo>
                  <a:pt x="34503" y="129526"/>
                  <a:pt x="29405" y="125601"/>
                  <a:pt x="27220" y="119892"/>
                </a:cubicBezTo>
                <a:cubicBezTo>
                  <a:pt x="26128" y="117751"/>
                  <a:pt x="27220" y="115253"/>
                  <a:pt x="29405" y="114183"/>
                </a:cubicBezTo>
                <a:cubicBezTo>
                  <a:pt x="31590" y="113469"/>
                  <a:pt x="34139" y="114540"/>
                  <a:pt x="34867" y="116681"/>
                </a:cubicBezTo>
                <a:cubicBezTo>
                  <a:pt x="36687" y="120249"/>
                  <a:pt x="40692" y="122747"/>
                  <a:pt x="45062" y="122747"/>
                </a:cubicBezTo>
                <a:cubicBezTo>
                  <a:pt x="50887" y="122747"/>
                  <a:pt x="55985" y="118465"/>
                  <a:pt x="55985" y="113469"/>
                </a:cubicBezTo>
                <a:cubicBezTo>
                  <a:pt x="55985" y="107403"/>
                  <a:pt x="52344" y="104549"/>
                  <a:pt x="45062" y="104549"/>
                </a:cubicBezTo>
                <a:cubicBezTo>
                  <a:pt x="30862" y="104549"/>
                  <a:pt x="25400" y="95271"/>
                  <a:pt x="25400" y="86707"/>
                </a:cubicBezTo>
                <a:cubicBezTo>
                  <a:pt x="25400" y="78144"/>
                  <a:pt x="31954" y="71007"/>
                  <a:pt x="40692" y="69580"/>
                </a:cubicBezTo>
                <a:lnTo>
                  <a:pt x="40692" y="65655"/>
                </a:lnTo>
                <a:cubicBezTo>
                  <a:pt x="40692" y="63514"/>
                  <a:pt x="42513" y="61373"/>
                  <a:pt x="45062" y="61373"/>
                </a:cubicBezTo>
                <a:close/>
                <a:moveTo>
                  <a:pt x="210894" y="30732"/>
                </a:moveTo>
                <a:lnTo>
                  <a:pt x="202257" y="35404"/>
                </a:lnTo>
                <a:lnTo>
                  <a:pt x="202257" y="157612"/>
                </a:lnTo>
                <a:lnTo>
                  <a:pt x="206935" y="155455"/>
                </a:lnTo>
                <a:cubicBezTo>
                  <a:pt x="212333" y="152580"/>
                  <a:pt x="218451" y="152580"/>
                  <a:pt x="223850" y="155455"/>
                </a:cubicBezTo>
                <a:lnTo>
                  <a:pt x="228168" y="157612"/>
                </a:lnTo>
                <a:lnTo>
                  <a:pt x="228168" y="35404"/>
                </a:lnTo>
                <a:lnTo>
                  <a:pt x="219891" y="30732"/>
                </a:lnTo>
                <a:cubicBezTo>
                  <a:pt x="217012" y="29294"/>
                  <a:pt x="213773" y="29294"/>
                  <a:pt x="210894" y="30732"/>
                </a:cubicBezTo>
                <a:close/>
                <a:moveTo>
                  <a:pt x="211254" y="9525"/>
                </a:moveTo>
                <a:lnTo>
                  <a:pt x="210534" y="9884"/>
                </a:lnTo>
                <a:lnTo>
                  <a:pt x="210534" y="21746"/>
                </a:lnTo>
                <a:cubicBezTo>
                  <a:pt x="213773" y="21027"/>
                  <a:pt x="217012" y="21027"/>
                  <a:pt x="220251" y="21746"/>
                </a:cubicBezTo>
                <a:lnTo>
                  <a:pt x="220251" y="9884"/>
                </a:lnTo>
                <a:lnTo>
                  <a:pt x="219531" y="9525"/>
                </a:lnTo>
                <a:cubicBezTo>
                  <a:pt x="216652" y="8087"/>
                  <a:pt x="213773" y="8087"/>
                  <a:pt x="211254" y="9525"/>
                </a:cubicBezTo>
                <a:close/>
                <a:moveTo>
                  <a:pt x="207295" y="1617"/>
                </a:moveTo>
                <a:cubicBezTo>
                  <a:pt x="212333" y="-539"/>
                  <a:pt x="218451" y="-539"/>
                  <a:pt x="223490" y="1617"/>
                </a:cubicBezTo>
                <a:lnTo>
                  <a:pt x="226369" y="3055"/>
                </a:lnTo>
                <a:cubicBezTo>
                  <a:pt x="228168" y="3774"/>
                  <a:pt x="228888" y="5571"/>
                  <a:pt x="228888" y="7009"/>
                </a:cubicBezTo>
                <a:lnTo>
                  <a:pt x="228888" y="25699"/>
                </a:lnTo>
                <a:lnTo>
                  <a:pt x="234646" y="28575"/>
                </a:lnTo>
                <a:cubicBezTo>
                  <a:pt x="236086" y="29653"/>
                  <a:pt x="236806" y="31091"/>
                  <a:pt x="236806" y="32529"/>
                </a:cubicBezTo>
                <a:lnTo>
                  <a:pt x="236806" y="39358"/>
                </a:lnTo>
                <a:lnTo>
                  <a:pt x="281072" y="39358"/>
                </a:lnTo>
                <a:cubicBezTo>
                  <a:pt x="283231" y="39358"/>
                  <a:pt x="285390" y="41515"/>
                  <a:pt x="285390" y="43671"/>
                </a:cubicBezTo>
                <a:lnTo>
                  <a:pt x="285390" y="222310"/>
                </a:lnTo>
                <a:cubicBezTo>
                  <a:pt x="285390" y="224467"/>
                  <a:pt x="283231" y="226624"/>
                  <a:pt x="281072" y="226624"/>
                </a:cubicBezTo>
                <a:lnTo>
                  <a:pt x="250121" y="226624"/>
                </a:lnTo>
                <a:cubicBezTo>
                  <a:pt x="247602" y="226624"/>
                  <a:pt x="245443" y="224467"/>
                  <a:pt x="245443" y="222310"/>
                </a:cubicBezTo>
                <a:cubicBezTo>
                  <a:pt x="245443" y="219794"/>
                  <a:pt x="247602" y="217997"/>
                  <a:pt x="250121" y="217997"/>
                </a:cubicBezTo>
                <a:lnTo>
                  <a:pt x="276753" y="217997"/>
                </a:lnTo>
                <a:lnTo>
                  <a:pt x="276753" y="47984"/>
                </a:lnTo>
                <a:lnTo>
                  <a:pt x="236806" y="47984"/>
                </a:lnTo>
                <a:lnTo>
                  <a:pt x="236806" y="233812"/>
                </a:lnTo>
                <a:cubicBezTo>
                  <a:pt x="236806" y="234172"/>
                  <a:pt x="236806" y="234890"/>
                  <a:pt x="236806" y="235250"/>
                </a:cubicBezTo>
                <a:lnTo>
                  <a:pt x="219531" y="282336"/>
                </a:lnTo>
                <a:cubicBezTo>
                  <a:pt x="218811" y="283773"/>
                  <a:pt x="217012" y="284852"/>
                  <a:pt x="215212" y="284852"/>
                </a:cubicBezTo>
                <a:cubicBezTo>
                  <a:pt x="213413" y="284852"/>
                  <a:pt x="211973" y="283773"/>
                  <a:pt x="211254" y="282336"/>
                </a:cubicBezTo>
                <a:lnTo>
                  <a:pt x="193979" y="235250"/>
                </a:lnTo>
                <a:cubicBezTo>
                  <a:pt x="193979" y="234890"/>
                  <a:pt x="193979" y="234172"/>
                  <a:pt x="193979" y="233812"/>
                </a:cubicBezTo>
                <a:lnTo>
                  <a:pt x="193979" y="226624"/>
                </a:lnTo>
                <a:lnTo>
                  <a:pt x="4318" y="226624"/>
                </a:lnTo>
                <a:cubicBezTo>
                  <a:pt x="1799" y="226624"/>
                  <a:pt x="0" y="224467"/>
                  <a:pt x="0" y="222310"/>
                </a:cubicBezTo>
                <a:lnTo>
                  <a:pt x="0" y="43671"/>
                </a:lnTo>
                <a:cubicBezTo>
                  <a:pt x="0" y="41515"/>
                  <a:pt x="1799" y="39358"/>
                  <a:pt x="4318" y="39358"/>
                </a:cubicBezTo>
                <a:lnTo>
                  <a:pt x="157631" y="39358"/>
                </a:lnTo>
                <a:cubicBezTo>
                  <a:pt x="159790" y="39358"/>
                  <a:pt x="161949" y="41515"/>
                  <a:pt x="161949" y="43671"/>
                </a:cubicBezTo>
                <a:cubicBezTo>
                  <a:pt x="161949" y="46187"/>
                  <a:pt x="159790" y="47984"/>
                  <a:pt x="157631" y="47984"/>
                </a:cubicBezTo>
                <a:lnTo>
                  <a:pt x="8637" y="47984"/>
                </a:lnTo>
                <a:lnTo>
                  <a:pt x="8637" y="217997"/>
                </a:lnTo>
                <a:lnTo>
                  <a:pt x="193979" y="217997"/>
                </a:lnTo>
                <a:lnTo>
                  <a:pt x="193979" y="37201"/>
                </a:lnTo>
                <a:cubicBezTo>
                  <a:pt x="185342" y="38998"/>
                  <a:pt x="179224" y="45109"/>
                  <a:pt x="179224" y="52657"/>
                </a:cubicBezTo>
                <a:lnTo>
                  <a:pt x="179224" y="111604"/>
                </a:lnTo>
                <a:cubicBezTo>
                  <a:pt x="179224" y="114120"/>
                  <a:pt x="177424" y="115917"/>
                  <a:pt x="174905" y="115917"/>
                </a:cubicBezTo>
                <a:cubicBezTo>
                  <a:pt x="172746" y="115917"/>
                  <a:pt x="170587" y="114120"/>
                  <a:pt x="170587" y="111604"/>
                </a:cubicBezTo>
                <a:lnTo>
                  <a:pt x="170587" y="52657"/>
                </a:lnTo>
                <a:cubicBezTo>
                  <a:pt x="170587" y="39358"/>
                  <a:pt x="182103" y="28934"/>
                  <a:pt x="196858" y="28215"/>
                </a:cubicBezTo>
                <a:lnTo>
                  <a:pt x="201897" y="25699"/>
                </a:lnTo>
                <a:lnTo>
                  <a:pt x="201897" y="7009"/>
                </a:lnTo>
                <a:cubicBezTo>
                  <a:pt x="201897" y="5571"/>
                  <a:pt x="202616" y="3774"/>
                  <a:pt x="204056" y="3055"/>
                </a:cubicBezTo>
                <a:lnTo>
                  <a:pt x="207295" y="1617"/>
                </a:lnTo>
                <a:close/>
              </a:path>
            </a:pathLst>
          </a:custGeom>
          <a:solidFill>
            <a:schemeClr val="bg1"/>
          </a:solidFill>
          <a:ln>
            <a:noFill/>
          </a:ln>
          <a:effectLst/>
        </p:spPr>
        <p:txBody>
          <a:bodyPr anchor="ctr"/>
          <a:lstStyle/>
          <a:p>
            <a:endParaRPr lang="en-GB" sz="1600" dirty="0">
              <a:latin typeface="+mj-lt"/>
            </a:endParaRPr>
          </a:p>
        </p:txBody>
      </p:sp>
    </p:spTree>
    <p:extLst>
      <p:ext uri="{BB962C8B-B14F-4D97-AF65-F5344CB8AC3E}">
        <p14:creationId xmlns:p14="http://schemas.microsoft.com/office/powerpoint/2010/main" val="3647196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3042" y="444133"/>
            <a:ext cx="8852375" cy="697353"/>
          </a:xfrm>
        </p:spPr>
        <p:txBody>
          <a:bodyPr>
            <a:normAutofit/>
          </a:bodyPr>
          <a:lstStyle/>
          <a:p>
            <a:r>
              <a:rPr lang="en-GB" dirty="0"/>
              <a:t>Financing Options - Financial restructuring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91306" y="1968094"/>
            <a:ext cx="3571576" cy="369875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Financial restructuring takes place at two levels of the balance sheet: </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On the assets side of the balance sheet, there are internal financing options</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On the liabilities side, there is the option of injecting equity or debt capital</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38" name="Rechteck 37">
            <a:extLst>
              <a:ext uri="{FF2B5EF4-FFF2-40B4-BE49-F238E27FC236}">
                <a16:creationId xmlns:a16="http://schemas.microsoft.com/office/drawing/2014/main" xmlns="" id="{51068E99-5015-4C83-950F-6F983302AE4C}"/>
              </a:ext>
            </a:extLst>
          </p:cNvPr>
          <p:cNvSpPr/>
          <p:nvPr/>
        </p:nvSpPr>
        <p:spPr>
          <a:xfrm>
            <a:off x="4330590" y="2414512"/>
            <a:ext cx="6203872" cy="456742"/>
          </a:xfrm>
          <a:prstGeom prst="rect">
            <a:avLst/>
          </a:prstGeom>
          <a:solidFill>
            <a:srgbClr val="F95C2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latin typeface="+mj-lt"/>
              </a:rPr>
              <a:t>Balance Sheet</a:t>
            </a:r>
          </a:p>
        </p:txBody>
      </p:sp>
      <p:sp>
        <p:nvSpPr>
          <p:cNvPr id="41" name="Rechteck 40">
            <a:extLst>
              <a:ext uri="{FF2B5EF4-FFF2-40B4-BE49-F238E27FC236}">
                <a16:creationId xmlns:a16="http://schemas.microsoft.com/office/drawing/2014/main" xmlns="" id="{A94286E9-E6F4-41BD-A9A8-388D247CC654}"/>
              </a:ext>
            </a:extLst>
          </p:cNvPr>
          <p:cNvSpPr/>
          <p:nvPr/>
        </p:nvSpPr>
        <p:spPr>
          <a:xfrm>
            <a:off x="4330590" y="2871254"/>
            <a:ext cx="3104537" cy="456742"/>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Assets</a:t>
            </a:r>
            <a:endParaRPr lang="en-GB" sz="1600" b="1" dirty="0">
              <a:solidFill>
                <a:schemeClr val="bg1"/>
              </a:solidFill>
            </a:endParaRPr>
          </a:p>
        </p:txBody>
      </p:sp>
      <p:sp>
        <p:nvSpPr>
          <p:cNvPr id="42" name="Rechteck 41">
            <a:extLst>
              <a:ext uri="{FF2B5EF4-FFF2-40B4-BE49-F238E27FC236}">
                <a16:creationId xmlns:a16="http://schemas.microsoft.com/office/drawing/2014/main" xmlns="" id="{D83C8517-C09B-4C81-89DA-A5F7751B0218}"/>
              </a:ext>
            </a:extLst>
          </p:cNvPr>
          <p:cNvSpPr/>
          <p:nvPr/>
        </p:nvSpPr>
        <p:spPr>
          <a:xfrm>
            <a:off x="7427324" y="2871254"/>
            <a:ext cx="3104537" cy="456742"/>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Liabilities</a:t>
            </a:r>
            <a:endParaRPr lang="en-GB" sz="1600" b="1" dirty="0">
              <a:solidFill>
                <a:schemeClr val="bg1"/>
              </a:solidFill>
            </a:endParaRPr>
          </a:p>
        </p:txBody>
      </p:sp>
      <p:cxnSp>
        <p:nvCxnSpPr>
          <p:cNvPr id="9" name="Gerader Verbinder 8">
            <a:extLst>
              <a:ext uri="{FF2B5EF4-FFF2-40B4-BE49-F238E27FC236}">
                <a16:creationId xmlns:a16="http://schemas.microsoft.com/office/drawing/2014/main" xmlns="" id="{1937410F-E639-4C39-BEA0-FCE28F60D688}"/>
              </a:ext>
            </a:extLst>
          </p:cNvPr>
          <p:cNvCxnSpPr/>
          <p:nvPr/>
        </p:nvCxnSpPr>
        <p:spPr>
          <a:xfrm>
            <a:off x="4330590" y="2871254"/>
            <a:ext cx="620127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xmlns="" id="{A05081F6-6692-4A85-B2AD-8A5DCD286F59}"/>
              </a:ext>
            </a:extLst>
          </p:cNvPr>
          <p:cNvSpPr/>
          <p:nvPr/>
        </p:nvSpPr>
        <p:spPr>
          <a:xfrm>
            <a:off x="4330590" y="3327995"/>
            <a:ext cx="3104537" cy="2184643"/>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bg1"/>
              </a:solidFill>
            </a:endParaRPr>
          </a:p>
        </p:txBody>
      </p:sp>
      <p:sp>
        <p:nvSpPr>
          <p:cNvPr id="44" name="Rechteck 43">
            <a:extLst>
              <a:ext uri="{FF2B5EF4-FFF2-40B4-BE49-F238E27FC236}">
                <a16:creationId xmlns:a16="http://schemas.microsoft.com/office/drawing/2014/main" xmlns="" id="{1C9C59F1-0582-4795-A930-1A14F198C3CC}"/>
              </a:ext>
            </a:extLst>
          </p:cNvPr>
          <p:cNvSpPr/>
          <p:nvPr/>
        </p:nvSpPr>
        <p:spPr>
          <a:xfrm>
            <a:off x="7427324" y="3327995"/>
            <a:ext cx="3104537" cy="2184643"/>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bg1"/>
              </a:solidFill>
            </a:endParaRPr>
          </a:p>
        </p:txBody>
      </p:sp>
      <p:cxnSp>
        <p:nvCxnSpPr>
          <p:cNvPr id="45" name="Gerader Verbinder 44">
            <a:extLst>
              <a:ext uri="{FF2B5EF4-FFF2-40B4-BE49-F238E27FC236}">
                <a16:creationId xmlns:a16="http://schemas.microsoft.com/office/drawing/2014/main" xmlns="" id="{8F9151E2-99B0-499F-A3CB-C8A32C99701E}"/>
              </a:ext>
            </a:extLst>
          </p:cNvPr>
          <p:cNvCxnSpPr>
            <a:cxnSpLocks/>
            <a:stCxn id="38" idx="2"/>
          </p:cNvCxnSpPr>
          <p:nvPr/>
        </p:nvCxnSpPr>
        <p:spPr>
          <a:xfrm>
            <a:off x="7432526" y="2871254"/>
            <a:ext cx="2601" cy="264138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xmlns="" id="{5FA8218B-BF3B-4E32-ADC4-A03A77893C2E}"/>
              </a:ext>
            </a:extLst>
          </p:cNvPr>
          <p:cNvSpPr/>
          <p:nvPr/>
        </p:nvSpPr>
        <p:spPr>
          <a:xfrm>
            <a:off x="4459230" y="3457480"/>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Fixed Assets</a:t>
            </a:r>
            <a:endParaRPr lang="en-GB" sz="1600" b="1" dirty="0">
              <a:solidFill>
                <a:schemeClr val="bg1"/>
              </a:solidFill>
            </a:endParaRPr>
          </a:p>
        </p:txBody>
      </p:sp>
      <p:sp>
        <p:nvSpPr>
          <p:cNvPr id="47" name="Rechteck 46">
            <a:extLst>
              <a:ext uri="{FF2B5EF4-FFF2-40B4-BE49-F238E27FC236}">
                <a16:creationId xmlns:a16="http://schemas.microsoft.com/office/drawing/2014/main" xmlns="" id="{83C64FB2-9188-463D-8A39-121A0410577D}"/>
              </a:ext>
            </a:extLst>
          </p:cNvPr>
          <p:cNvSpPr/>
          <p:nvPr/>
        </p:nvSpPr>
        <p:spPr>
          <a:xfrm>
            <a:off x="4459230" y="4266207"/>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Current Assets</a:t>
            </a:r>
            <a:endParaRPr lang="en-GB" sz="1600" b="1" dirty="0">
              <a:solidFill>
                <a:schemeClr val="bg1"/>
              </a:solidFill>
            </a:endParaRPr>
          </a:p>
        </p:txBody>
      </p:sp>
      <p:sp>
        <p:nvSpPr>
          <p:cNvPr id="48" name="Rechteck 47">
            <a:extLst>
              <a:ext uri="{FF2B5EF4-FFF2-40B4-BE49-F238E27FC236}">
                <a16:creationId xmlns:a16="http://schemas.microsoft.com/office/drawing/2014/main" xmlns="" id="{4F13DAB9-F84D-436D-BFFB-85F9F76DBE64}"/>
              </a:ext>
            </a:extLst>
          </p:cNvPr>
          <p:cNvSpPr/>
          <p:nvPr/>
        </p:nvSpPr>
        <p:spPr>
          <a:xfrm>
            <a:off x="7555964" y="3457480"/>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Equity</a:t>
            </a:r>
            <a:endParaRPr lang="en-GB" sz="1600" b="1" dirty="0">
              <a:solidFill>
                <a:schemeClr val="bg1"/>
              </a:solidFill>
            </a:endParaRPr>
          </a:p>
        </p:txBody>
      </p:sp>
      <p:sp>
        <p:nvSpPr>
          <p:cNvPr id="49" name="Rechteck 48">
            <a:extLst>
              <a:ext uri="{FF2B5EF4-FFF2-40B4-BE49-F238E27FC236}">
                <a16:creationId xmlns:a16="http://schemas.microsoft.com/office/drawing/2014/main" xmlns="" id="{520176C7-2969-442B-B530-61FD7945C71E}"/>
              </a:ext>
            </a:extLst>
          </p:cNvPr>
          <p:cNvSpPr/>
          <p:nvPr/>
        </p:nvSpPr>
        <p:spPr>
          <a:xfrm>
            <a:off x="7555964" y="4266207"/>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Debt Capital</a:t>
            </a:r>
            <a:endParaRPr lang="en-GB" sz="1600" b="1" dirty="0">
              <a:solidFill>
                <a:schemeClr val="bg1"/>
              </a:solidFill>
            </a:endParaRPr>
          </a:p>
        </p:txBody>
      </p:sp>
      <p:sp>
        <p:nvSpPr>
          <p:cNvPr id="13" name="Pfeil: nach rechts 12">
            <a:extLst>
              <a:ext uri="{FF2B5EF4-FFF2-40B4-BE49-F238E27FC236}">
                <a16:creationId xmlns:a16="http://schemas.microsoft.com/office/drawing/2014/main" xmlns="" id="{8E45650E-5F28-46C9-9355-1548733FA94C}"/>
              </a:ext>
            </a:extLst>
          </p:cNvPr>
          <p:cNvSpPr/>
          <p:nvPr/>
        </p:nvSpPr>
        <p:spPr>
          <a:xfrm rot="10800000">
            <a:off x="10395417" y="3330109"/>
            <a:ext cx="974752" cy="697351"/>
          </a:xfrm>
          <a:prstGeom prst="right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Pfeil: nach rechts 49">
            <a:extLst>
              <a:ext uri="{FF2B5EF4-FFF2-40B4-BE49-F238E27FC236}">
                <a16:creationId xmlns:a16="http://schemas.microsoft.com/office/drawing/2014/main" xmlns="" id="{C3FB6441-29E5-4A24-B584-2B95AFBC7116}"/>
              </a:ext>
            </a:extLst>
          </p:cNvPr>
          <p:cNvSpPr/>
          <p:nvPr/>
        </p:nvSpPr>
        <p:spPr>
          <a:xfrm rot="10800000">
            <a:off x="10395417" y="4146661"/>
            <a:ext cx="974753" cy="697351"/>
          </a:xfrm>
          <a:prstGeom prst="right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Pfeil: nach oben gekrümmt 13">
            <a:extLst>
              <a:ext uri="{FF2B5EF4-FFF2-40B4-BE49-F238E27FC236}">
                <a16:creationId xmlns:a16="http://schemas.microsoft.com/office/drawing/2014/main" xmlns="" id="{A5095E48-CEA3-4B80-BD60-8609AB492563}"/>
              </a:ext>
            </a:extLst>
          </p:cNvPr>
          <p:cNvSpPr/>
          <p:nvPr/>
        </p:nvSpPr>
        <p:spPr>
          <a:xfrm>
            <a:off x="6589015" y="4146661"/>
            <a:ext cx="709670" cy="576288"/>
          </a:xfrm>
          <a:prstGeom prst="curvedUp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51" name="Pfeil: nach oben gekrümmt 50">
            <a:extLst>
              <a:ext uri="{FF2B5EF4-FFF2-40B4-BE49-F238E27FC236}">
                <a16:creationId xmlns:a16="http://schemas.microsoft.com/office/drawing/2014/main" xmlns="" id="{1DBEE022-4F1D-4C2C-B9CA-62457FD557DB}"/>
              </a:ext>
            </a:extLst>
          </p:cNvPr>
          <p:cNvSpPr/>
          <p:nvPr/>
        </p:nvSpPr>
        <p:spPr>
          <a:xfrm rot="10800000">
            <a:off x="6512012" y="3457480"/>
            <a:ext cx="709670" cy="576288"/>
          </a:xfrm>
          <a:prstGeom prst="curvedUp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53" name="Subtitle 2">
            <a:extLst>
              <a:ext uri="{FF2B5EF4-FFF2-40B4-BE49-F238E27FC236}">
                <a16:creationId xmlns:a16="http://schemas.microsoft.com/office/drawing/2014/main" xmlns="" id="{06B59969-4B5E-4109-AC4B-41123B3AC28B}"/>
              </a:ext>
            </a:extLst>
          </p:cNvPr>
          <p:cNvSpPr txBox="1">
            <a:spLocks/>
          </p:cNvSpPr>
          <p:nvPr/>
        </p:nvSpPr>
        <p:spPr>
          <a:xfrm>
            <a:off x="4459230" y="4949698"/>
            <a:ext cx="283945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Internal Financing:</a:t>
            </a:r>
            <a:br>
              <a:rPr lang="en-GB" sz="1600" b="1">
                <a:latin typeface="+mj-lt"/>
                <a:ea typeface="Lato Light" panose="020F0502020204030203" pitchFamily="34" charset="0"/>
                <a:cs typeface="Mukta ExtraLight" panose="020B0000000000000000" pitchFamily="34" charset="77"/>
              </a:rPr>
            </a:br>
            <a:r>
              <a:rPr lang="en-GB" sz="1600">
                <a:latin typeface="+mj-lt"/>
                <a:ea typeface="Lato Light" panose="020F0502020204030203" pitchFamily="34" charset="0"/>
                <a:cs typeface="Mukta ExtraLight" panose="020B0000000000000000" pitchFamily="34" charset="77"/>
              </a:rPr>
              <a:t>From own power</a:t>
            </a:r>
            <a:endParaRPr lang="en-GB" sz="1600" b="1" dirty="0">
              <a:latin typeface="+mj-lt"/>
              <a:ea typeface="Lato Light" panose="020F0502020204030203" pitchFamily="34" charset="0"/>
              <a:cs typeface="Mukta ExtraLight" panose="020B0000000000000000" pitchFamily="34" charset="77"/>
            </a:endParaRPr>
          </a:p>
        </p:txBody>
      </p:sp>
      <p:sp>
        <p:nvSpPr>
          <p:cNvPr id="55" name="Subtitle 2">
            <a:extLst>
              <a:ext uri="{FF2B5EF4-FFF2-40B4-BE49-F238E27FC236}">
                <a16:creationId xmlns:a16="http://schemas.microsoft.com/office/drawing/2014/main" xmlns="" id="{262AC9C3-092E-4E0B-9F24-2E45454CF072}"/>
              </a:ext>
            </a:extLst>
          </p:cNvPr>
          <p:cNvSpPr txBox="1">
            <a:spLocks/>
          </p:cNvSpPr>
          <p:nvPr/>
        </p:nvSpPr>
        <p:spPr>
          <a:xfrm>
            <a:off x="7555964" y="4949698"/>
            <a:ext cx="283945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External Financing: </a:t>
            </a:r>
            <a:br>
              <a:rPr lang="en-GB" sz="1600" b="1">
                <a:latin typeface="+mj-lt"/>
                <a:ea typeface="Lato Light" panose="020F0502020204030203" pitchFamily="34" charset="0"/>
                <a:cs typeface="Mukta ExtraLight" panose="020B0000000000000000" pitchFamily="34" charset="77"/>
              </a:rPr>
            </a:br>
            <a:r>
              <a:rPr lang="en-GB" sz="1600">
                <a:latin typeface="+mj-lt"/>
                <a:ea typeface="Lato Light" panose="020F0502020204030203" pitchFamily="34" charset="0"/>
                <a:cs typeface="Mukta ExtraLight" panose="020B0000000000000000" pitchFamily="34" charset="77"/>
              </a:rPr>
              <a:t>Capital Injection</a:t>
            </a:r>
            <a:endParaRPr lang="en-GB" sz="1600" b="1"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5748726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01553" y="426898"/>
            <a:ext cx="8852375" cy="697353"/>
          </a:xfrm>
        </p:spPr>
        <p:txBody>
          <a:bodyPr>
            <a:normAutofit/>
          </a:bodyPr>
          <a:lstStyle/>
          <a:p>
            <a:r>
              <a:rPr lang="en-GB" dirty="0"/>
              <a:t>The Timeline for Financial Restructuring</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54714" y="2098307"/>
            <a:ext cx="2788785" cy="437586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toolbox for financial restructuring is large - but shrinks as the crisis progresses. </a:t>
            </a:r>
          </a:p>
          <a:p>
            <a:pPr algn="l">
              <a:lnSpc>
                <a:spcPct val="100000"/>
              </a:lnSpc>
              <a:spcBef>
                <a:spcPts val="600"/>
              </a:spcBef>
            </a:pPr>
            <a:endParaRPr lang="en-GB" sz="22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However, the available instruments vary in their complexity and sometimes require a considerable amount of time in advance</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cxnSp>
        <p:nvCxnSpPr>
          <p:cNvPr id="6" name="Gerade Verbindung mit Pfeil 5">
            <a:extLst>
              <a:ext uri="{FF2B5EF4-FFF2-40B4-BE49-F238E27FC236}">
                <a16:creationId xmlns:a16="http://schemas.microsoft.com/office/drawing/2014/main" xmlns="" id="{D56C76F7-68CE-4B26-A52D-8770502F9A19}"/>
              </a:ext>
            </a:extLst>
          </p:cNvPr>
          <p:cNvCxnSpPr>
            <a:cxnSpLocks/>
          </p:cNvCxnSpPr>
          <p:nvPr/>
        </p:nvCxnSpPr>
        <p:spPr>
          <a:xfrm flipV="1">
            <a:off x="3773103" y="2098307"/>
            <a:ext cx="0" cy="3627002"/>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xmlns="" id="{FB32D818-ED6D-459F-ADB6-4F31917E9F5F}"/>
              </a:ext>
            </a:extLst>
          </p:cNvPr>
          <p:cNvCxnSpPr>
            <a:cxnSpLocks/>
          </p:cNvCxnSpPr>
          <p:nvPr/>
        </p:nvCxnSpPr>
        <p:spPr>
          <a:xfrm>
            <a:off x="3773103" y="5706059"/>
            <a:ext cx="7122695" cy="0"/>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sp>
        <p:nvSpPr>
          <p:cNvPr id="27" name="Subtitle 2">
            <a:extLst>
              <a:ext uri="{FF2B5EF4-FFF2-40B4-BE49-F238E27FC236}">
                <a16:creationId xmlns:a16="http://schemas.microsoft.com/office/drawing/2014/main" xmlns="" id="{ABAF5D81-7D3C-4751-A67A-349C3934525C}"/>
              </a:ext>
            </a:extLst>
          </p:cNvPr>
          <p:cNvSpPr txBox="1">
            <a:spLocks/>
          </p:cNvSpPr>
          <p:nvPr/>
        </p:nvSpPr>
        <p:spPr>
          <a:xfrm>
            <a:off x="7808822" y="5706059"/>
            <a:ext cx="2839455"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b="1">
                <a:latin typeface="+mj-lt"/>
                <a:ea typeface="Lato Light" panose="020F0502020204030203" pitchFamily="34" charset="0"/>
                <a:cs typeface="Mukta ExtraLight" panose="020B0000000000000000" pitchFamily="34" charset="77"/>
              </a:rPr>
              <a:t>Time Needed</a:t>
            </a:r>
            <a:endParaRPr lang="en-GB" sz="1600" b="1" dirty="0">
              <a:latin typeface="+mj-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xmlns="" id="{526D63FF-A52F-4E47-B906-BCD5DFECE8C7}"/>
              </a:ext>
            </a:extLst>
          </p:cNvPr>
          <p:cNvSpPr txBox="1">
            <a:spLocks/>
          </p:cNvSpPr>
          <p:nvPr/>
        </p:nvSpPr>
        <p:spPr>
          <a:xfrm rot="16200000">
            <a:off x="2212949" y="3637503"/>
            <a:ext cx="2839455"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b="1">
                <a:latin typeface="+mj-lt"/>
                <a:ea typeface="Lato Light" panose="020F0502020204030203" pitchFamily="34" charset="0"/>
                <a:cs typeface="Mukta ExtraLight" panose="020B0000000000000000" pitchFamily="34" charset="77"/>
              </a:rPr>
              <a:t>Complexity</a:t>
            </a:r>
            <a:endParaRPr lang="en-GB" sz="1600" b="1" dirty="0">
              <a:latin typeface="+mj-lt"/>
              <a:ea typeface="Lato Light" panose="020F0502020204030203" pitchFamily="34" charset="0"/>
              <a:cs typeface="Mukta ExtraLight" panose="020B0000000000000000" pitchFamily="34" charset="77"/>
            </a:endParaRPr>
          </a:p>
        </p:txBody>
      </p:sp>
      <p:sp>
        <p:nvSpPr>
          <p:cNvPr id="31" name="Rechteck 30">
            <a:extLst>
              <a:ext uri="{FF2B5EF4-FFF2-40B4-BE49-F238E27FC236}">
                <a16:creationId xmlns:a16="http://schemas.microsoft.com/office/drawing/2014/main" xmlns="" id="{787A516F-3FB2-47F1-84A0-CDACB19D7E2C}"/>
              </a:ext>
            </a:extLst>
          </p:cNvPr>
          <p:cNvSpPr/>
          <p:nvPr/>
        </p:nvSpPr>
        <p:spPr>
          <a:xfrm>
            <a:off x="3989282" y="5031039"/>
            <a:ext cx="2357083" cy="553325"/>
          </a:xfrm>
          <a:prstGeom prst="rect">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Maintaining Financial Solvency</a:t>
            </a:r>
          </a:p>
        </p:txBody>
      </p:sp>
      <p:sp>
        <p:nvSpPr>
          <p:cNvPr id="32" name="Rechteck 31">
            <a:extLst>
              <a:ext uri="{FF2B5EF4-FFF2-40B4-BE49-F238E27FC236}">
                <a16:creationId xmlns:a16="http://schemas.microsoft.com/office/drawing/2014/main" xmlns="" id="{2F6B44A6-77D0-4EB5-BAFA-BC46403239DE}"/>
              </a:ext>
            </a:extLst>
          </p:cNvPr>
          <p:cNvSpPr/>
          <p:nvPr/>
        </p:nvSpPr>
        <p:spPr>
          <a:xfrm>
            <a:off x="4744124" y="4465160"/>
            <a:ext cx="2788790" cy="456742"/>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solidFill>
                  <a:schemeClr val="bg1"/>
                </a:solidFill>
                <a:latin typeface="+mj-lt"/>
              </a:rPr>
              <a:t>Stabilization of liquidity</a:t>
            </a:r>
          </a:p>
        </p:txBody>
      </p:sp>
      <p:sp>
        <p:nvSpPr>
          <p:cNvPr id="33" name="Rechteck 32">
            <a:extLst>
              <a:ext uri="{FF2B5EF4-FFF2-40B4-BE49-F238E27FC236}">
                <a16:creationId xmlns:a16="http://schemas.microsoft.com/office/drawing/2014/main" xmlns="" id="{75FDE408-36C2-4CE8-B11C-EB4902BAF4FC}"/>
              </a:ext>
            </a:extLst>
          </p:cNvPr>
          <p:cNvSpPr/>
          <p:nvPr/>
        </p:nvSpPr>
        <p:spPr>
          <a:xfrm>
            <a:off x="7747962" y="3011230"/>
            <a:ext cx="2122273" cy="67501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Improvement of the financing structure</a:t>
            </a:r>
          </a:p>
        </p:txBody>
      </p:sp>
      <p:sp>
        <p:nvSpPr>
          <p:cNvPr id="34" name="Rechteck 33">
            <a:extLst>
              <a:ext uri="{FF2B5EF4-FFF2-40B4-BE49-F238E27FC236}">
                <a16:creationId xmlns:a16="http://schemas.microsoft.com/office/drawing/2014/main" xmlns="" id="{85A6F7ED-C858-45F7-8C46-0E53E78CC4A7}"/>
              </a:ext>
            </a:extLst>
          </p:cNvPr>
          <p:cNvSpPr/>
          <p:nvPr/>
        </p:nvSpPr>
        <p:spPr>
          <a:xfrm>
            <a:off x="8526004" y="2098307"/>
            <a:ext cx="2122273" cy="80378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Building a sustainable capital structure</a:t>
            </a:r>
          </a:p>
        </p:txBody>
      </p:sp>
    </p:spTree>
    <p:extLst>
      <p:ext uri="{BB962C8B-B14F-4D97-AF65-F5344CB8AC3E}">
        <p14:creationId xmlns:p14="http://schemas.microsoft.com/office/powerpoint/2010/main" val="847728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853210"/>
            <a:ext cx="6539395" cy="697353"/>
          </a:xfrm>
        </p:spPr>
        <p:txBody>
          <a:bodyPr/>
          <a:lstStyle/>
          <a:p>
            <a:r>
              <a:rPr lang="en-GB" dirty="0"/>
              <a:t>NEXT UP      </a:t>
            </a:r>
            <a:r>
              <a:rPr lang="en-GB" sz="5400" i="0" dirty="0">
                <a:solidFill>
                  <a:srgbClr val="E64D92"/>
                </a:solidFill>
              </a:rPr>
              <a:t>Module 6</a:t>
            </a:r>
            <a:r>
              <a:rPr lang="en-GB" dirty="0">
                <a:solidFill>
                  <a:srgbClr val="E64D92"/>
                </a:solidFill>
              </a:rPr>
              <a:t> </a:t>
            </a:r>
          </a:p>
        </p:txBody>
      </p:sp>
      <p:sp>
        <p:nvSpPr>
          <p:cNvPr id="3" name="Text Placeholder 2"/>
          <p:cNvSpPr>
            <a:spLocks noGrp="1"/>
          </p:cNvSpPr>
          <p:nvPr>
            <p:ph type="body" sz="quarter" idx="14"/>
          </p:nvPr>
        </p:nvSpPr>
        <p:spPr>
          <a:xfrm>
            <a:off x="296833" y="3233207"/>
            <a:ext cx="5886252" cy="697353"/>
          </a:xfrm>
        </p:spPr>
        <p:txBody>
          <a:bodyPr/>
          <a:lstStyle/>
          <a:p>
            <a:r>
              <a:rPr lang="en-GB" sz="3200" i="0" dirty="0"/>
              <a:t>Leadership in Crisis</a:t>
            </a:r>
            <a:endParaRPr lang="en-GB" sz="3200" dirty="0"/>
          </a:p>
          <a:p>
            <a:pPr algn="ctr"/>
            <a:endParaRPr lang="en-GB" sz="3200" dirty="0">
              <a:solidFill>
                <a:srgbClr val="5B9BD5"/>
              </a:solidFill>
            </a:endParaRPr>
          </a:p>
          <a:p>
            <a:endParaRPr lang="en-GB" dirty="0"/>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25612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36239" y="541947"/>
            <a:ext cx="8852375" cy="697353"/>
          </a:xfrm>
        </p:spPr>
        <p:txBody>
          <a:bodyPr>
            <a:normAutofit/>
          </a:bodyPr>
          <a:lstStyle/>
          <a:p>
            <a:r>
              <a:rPr lang="en-GB" dirty="0"/>
              <a:t>Strategic Options in Crisis: Early Phas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59348" y="2141017"/>
            <a:ext cx="2714538" cy="373722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From an entrepreneurial point of view, strategic alternatives for action decrease as the crisis progresses.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The earlier you recognize the crisis, the greater the strategic freedom.</a:t>
            </a:r>
            <a:endParaRPr lang="en-US" dirty="0">
              <a:solidFill>
                <a:srgbClr val="245473"/>
              </a:solidFill>
            </a:endParaRPr>
          </a:p>
          <a:p>
            <a:pPr algn="l">
              <a:lnSpc>
                <a:spcPts val="1500"/>
              </a:lnSpc>
              <a:spcBef>
                <a:spcPts val="600"/>
              </a:spcBef>
            </a:pP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5059140" y="1951884"/>
            <a:ext cx="6770233" cy="1034836"/>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Market Share Diminishing</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omplaints increasing</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ccounts Receivable and Accounts Payable slowing down</a:t>
            </a:r>
          </a:p>
          <a:p>
            <a:pPr marL="182563" indent="-182563" algn="l">
              <a:lnSpc>
                <a:spcPts val="1313"/>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Financial Ratios Deteriorating</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6" name="Trapezoid 5">
            <a:extLst>
              <a:ext uri="{FF2B5EF4-FFF2-40B4-BE49-F238E27FC236}">
                <a16:creationId xmlns:a16="http://schemas.microsoft.com/office/drawing/2014/main" xmlns="" id="{A20C0991-9A79-428E-ADBF-270B86B87DE6}"/>
              </a:ext>
            </a:extLst>
          </p:cNvPr>
          <p:cNvSpPr/>
          <p:nvPr/>
        </p:nvSpPr>
        <p:spPr>
          <a:xfrm rot="5400000">
            <a:off x="3447146" y="3091700"/>
            <a:ext cx="2272626" cy="1889760"/>
          </a:xfrm>
          <a:prstGeom prst="trapezoid">
            <a:avLst>
              <a:gd name="adj" fmla="val 148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3645252" y="3522341"/>
            <a:ext cx="1883088" cy="13741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800" b="1" dirty="0">
                <a:solidFill>
                  <a:schemeClr val="bg1"/>
                </a:solidFill>
                <a:latin typeface="+mj-lt"/>
                <a:ea typeface="Lato Light" panose="020F0502020204030203" pitchFamily="34" charset="0"/>
                <a:cs typeface="Mukta ExtraLight" panose="020B0000000000000000" pitchFamily="34" charset="77"/>
              </a:rPr>
              <a:t>Early Crisis Phases</a:t>
            </a:r>
            <a:br>
              <a:rPr lang="en-GB" sz="1800" b="1" dirty="0">
                <a:solidFill>
                  <a:schemeClr val="bg1"/>
                </a:solidFill>
                <a:latin typeface="+mj-lt"/>
                <a:ea typeface="Lato Light" panose="020F0502020204030203" pitchFamily="34" charset="0"/>
                <a:cs typeface="Mukta ExtraLight" panose="020B0000000000000000" pitchFamily="34" charset="77"/>
              </a:rPr>
            </a:br>
            <a:r>
              <a:rPr lang="en-GB" sz="1800" b="1" dirty="0">
                <a:solidFill>
                  <a:schemeClr val="bg1"/>
                </a:solidFill>
                <a:latin typeface="+mj-lt"/>
                <a:ea typeface="Lato Light" panose="020F0502020204030203" pitchFamily="34" charset="0"/>
                <a:cs typeface="Mukta ExtraLight" panose="020B0000000000000000" pitchFamily="34" charset="77"/>
              </a:rPr>
              <a:t/>
            </a:r>
            <a:br>
              <a:rPr lang="en-GB" sz="1800" b="1" dirty="0">
                <a:solidFill>
                  <a:schemeClr val="bg1"/>
                </a:solidFill>
                <a:latin typeface="+mj-lt"/>
                <a:ea typeface="Lato Light" panose="020F0502020204030203" pitchFamily="34" charset="0"/>
                <a:cs typeface="Mukta ExtraLight" panose="020B0000000000000000" pitchFamily="34" charset="77"/>
              </a:rPr>
            </a:br>
            <a:r>
              <a:rPr lang="en-GB" sz="1800" dirty="0">
                <a:solidFill>
                  <a:schemeClr val="bg1"/>
                </a:solidFill>
                <a:latin typeface="+mj-lt"/>
                <a:ea typeface="Lato Light" panose="020F0502020204030203" pitchFamily="34" charset="0"/>
                <a:cs typeface="Mukta ExtraLight" panose="020B0000000000000000" pitchFamily="34" charset="77"/>
              </a:rPr>
              <a:t>Underperforming</a:t>
            </a:r>
          </a:p>
          <a:p>
            <a:pPr>
              <a:lnSpc>
                <a:spcPts val="1313"/>
              </a:lnSpc>
            </a:pPr>
            <a:endPar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endParaRPr>
          </a:p>
          <a:p>
            <a:pPr>
              <a:lnSpc>
                <a:spcPts val="1313"/>
              </a:lnSpc>
            </a:pPr>
            <a:r>
              <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Many Strategic</a:t>
            </a:r>
            <a:br>
              <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br>
            <a:r>
              <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Options</a:t>
            </a:r>
          </a:p>
          <a:p>
            <a:pPr>
              <a:lnSpc>
                <a:spcPts val="1313"/>
              </a:lnSpc>
            </a:pP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32" name="Subtitle 2">
            <a:extLst>
              <a:ext uri="{FF2B5EF4-FFF2-40B4-BE49-F238E27FC236}">
                <a16:creationId xmlns:a16="http://schemas.microsoft.com/office/drawing/2014/main" xmlns="" id="{1F6E4C97-8CAB-4036-9373-9E2122B612F6}"/>
              </a:ext>
            </a:extLst>
          </p:cNvPr>
          <p:cNvSpPr txBox="1">
            <a:spLocks/>
          </p:cNvSpPr>
          <p:nvPr/>
        </p:nvSpPr>
        <p:spPr>
          <a:xfrm>
            <a:off x="3645252" y="2060197"/>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64D92"/>
                </a:solidFill>
                <a:latin typeface="+mj-lt"/>
                <a:ea typeface="Lato Light" panose="020F0502020204030203" pitchFamily="34" charset="0"/>
                <a:cs typeface="Mukta ExtraLight" panose="020B0000000000000000" pitchFamily="34" charset="77"/>
              </a:rPr>
              <a:t>Symptoms:</a:t>
            </a:r>
          </a:p>
        </p:txBody>
      </p:sp>
      <p:sp>
        <p:nvSpPr>
          <p:cNvPr id="33" name="Subtitle 2">
            <a:extLst>
              <a:ext uri="{FF2B5EF4-FFF2-40B4-BE49-F238E27FC236}">
                <a16:creationId xmlns:a16="http://schemas.microsoft.com/office/drawing/2014/main" xmlns="" id="{965A91BA-91A2-46A0-B05A-43FD364371D9}"/>
              </a:ext>
            </a:extLst>
          </p:cNvPr>
          <p:cNvSpPr txBox="1">
            <a:spLocks/>
          </p:cNvSpPr>
          <p:nvPr/>
        </p:nvSpPr>
        <p:spPr>
          <a:xfrm>
            <a:off x="5319442" y="5006343"/>
            <a:ext cx="6770233" cy="100661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onfront situatio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isten to customer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vamp strategic and operating plan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ce cycle times</a:t>
            </a:r>
          </a:p>
          <a:p>
            <a:pPr marL="285750" indent="-2857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fessionalize reporting and accounting system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ut Variable Costs + Fixed Overhead</a:t>
            </a:r>
          </a:p>
          <a:p>
            <a:pPr marL="182245" indent="-182245"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xmlns="" id="{89452D08-5BFE-4501-B0A1-B0CAFB0D9DB0}"/>
              </a:ext>
            </a:extLst>
          </p:cNvPr>
          <p:cNvSpPr txBox="1">
            <a:spLocks/>
          </p:cNvSpPr>
          <p:nvPr/>
        </p:nvSpPr>
        <p:spPr>
          <a:xfrm>
            <a:off x="3645252" y="5374932"/>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64D92"/>
                </a:solidFill>
                <a:latin typeface="+mj-lt"/>
                <a:ea typeface="Lato Light" panose="020F0502020204030203" pitchFamily="34" charset="0"/>
                <a:cs typeface="Mukta ExtraLight" panose="020B0000000000000000" pitchFamily="34" charset="77"/>
              </a:rPr>
              <a:t>Actions:</a:t>
            </a:r>
          </a:p>
        </p:txBody>
      </p:sp>
      <p:sp>
        <p:nvSpPr>
          <p:cNvPr id="12" name="Subtitle 2">
            <a:extLst>
              <a:ext uri="{FF2B5EF4-FFF2-40B4-BE49-F238E27FC236}">
                <a16:creationId xmlns:a16="http://schemas.microsoft.com/office/drawing/2014/main" xmlns="" id="{49C17D88-888D-43D7-83F4-B951773BB902}"/>
              </a:ext>
            </a:extLst>
          </p:cNvPr>
          <p:cNvSpPr txBox="1">
            <a:spLocks/>
          </p:cNvSpPr>
          <p:nvPr/>
        </p:nvSpPr>
        <p:spPr>
          <a:xfrm rot="16200000">
            <a:off x="2553713" y="3922889"/>
            <a:ext cx="1883088"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2000" b="1" dirty="0">
                <a:solidFill>
                  <a:srgbClr val="F95C2C"/>
                </a:solidFill>
                <a:latin typeface="+mj-lt"/>
                <a:ea typeface="Lato Light" panose="020F0502020204030203" pitchFamily="34" charset="0"/>
                <a:cs typeface="Mukta ExtraLight" panose="020B0000000000000000" pitchFamily="34" charset="77"/>
              </a:rPr>
              <a:t>Strategic Options</a:t>
            </a:r>
          </a:p>
        </p:txBody>
      </p:sp>
    </p:spTree>
    <p:extLst>
      <p:ext uri="{BB962C8B-B14F-4D97-AF65-F5344CB8AC3E}">
        <p14:creationId xmlns:p14="http://schemas.microsoft.com/office/powerpoint/2010/main" val="1179086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2123770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24067" y="505784"/>
            <a:ext cx="8852375" cy="697353"/>
          </a:xfrm>
        </p:spPr>
        <p:txBody>
          <a:bodyPr>
            <a:normAutofit/>
          </a:bodyPr>
          <a:lstStyle/>
          <a:p>
            <a:r>
              <a:rPr lang="en-GB" dirty="0"/>
              <a:t>Strategic Options in Crisis: Accelerating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23607" y="1775959"/>
            <a:ext cx="2775346" cy="446819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If the crisis is reflected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in the relevant corporate key figures, the strategic options are already massively restricted.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The rule of thumb is: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The further the crisis progresses before measures are taken,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the less likely it is that the company's own resources will be sufficient to master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the crisis on its own.</a:t>
            </a:r>
            <a:endParaRPr lang="en-US" sz="2000" dirty="0">
              <a:solidFill>
                <a:srgbClr val="245473"/>
              </a:solidFill>
              <a:ea typeface="Open Sans Light" panose="020B0306030504020204" pitchFamily="34" charset="0"/>
              <a:cs typeface="Open Sans Light" panose="020B0306030504020204" pitchFamily="34" charset="0"/>
            </a:endParaRP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5003756" y="1861557"/>
            <a:ext cx="7111614" cy="84006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Notable declines in revenue and earning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Bank covenant violation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Quality problems and returns</a:t>
            </a:r>
          </a:p>
          <a:p>
            <a:pPr marL="182563" indent="-182563" algn="l">
              <a:lnSpc>
                <a:spcPct val="100000"/>
              </a:lnSpc>
              <a:buFont typeface="Arial" panose="020B0604020202020204" pitchFamily="34" charset="0"/>
              <a:buChar char="•"/>
            </a:pPr>
            <a:endParaRPr lang="en-GB" sz="1800" dirty="0">
              <a:solidFill>
                <a:srgbClr val="245473"/>
              </a:solidFill>
              <a:latin typeface="+mj-lt"/>
              <a:ea typeface="Lato Light" panose="020F0502020204030203" pitchFamily="34" charset="0"/>
              <a:cs typeface="Mukta ExtraLight" panose="020B0000000000000000" pitchFamily="34" charset="77"/>
            </a:endParaRP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redit line maxed out</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iquid funds decreasing</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cute production problems (difficult material supply / suppliers demand advance payments) </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2" name="Subtitle 2">
            <a:extLst>
              <a:ext uri="{FF2B5EF4-FFF2-40B4-BE49-F238E27FC236}">
                <a16:creationId xmlns:a16="http://schemas.microsoft.com/office/drawing/2014/main" xmlns="" id="{1F6E4C97-8CAB-4036-9373-9E2122B612F6}"/>
              </a:ext>
            </a:extLst>
          </p:cNvPr>
          <p:cNvSpPr txBox="1">
            <a:spLocks/>
          </p:cNvSpPr>
          <p:nvPr/>
        </p:nvSpPr>
        <p:spPr>
          <a:xfrm>
            <a:off x="3645252" y="2060197"/>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Symptoms:</a:t>
            </a:r>
          </a:p>
        </p:txBody>
      </p:sp>
      <p:sp>
        <p:nvSpPr>
          <p:cNvPr id="33" name="Subtitle 2">
            <a:extLst>
              <a:ext uri="{FF2B5EF4-FFF2-40B4-BE49-F238E27FC236}">
                <a16:creationId xmlns:a16="http://schemas.microsoft.com/office/drawing/2014/main" xmlns="" id="{965A91BA-91A2-46A0-B05A-43FD364371D9}"/>
              </a:ext>
            </a:extLst>
          </p:cNvPr>
          <p:cNvSpPr txBox="1">
            <a:spLocks/>
          </p:cNvSpPr>
          <p:nvPr/>
        </p:nvSpPr>
        <p:spPr>
          <a:xfrm>
            <a:off x="5003756" y="5222088"/>
            <a:ext cx="6770233" cy="100661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ssert control</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evelop restructuring pla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hange Management</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structure Debt</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ell fixed assets</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ell company / look for investors / strategic partners</a:t>
            </a:r>
          </a:p>
          <a:p>
            <a:pPr marL="182245" indent="-182245"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xmlns="" id="{89452D08-5BFE-4501-B0A1-B0CAFB0D9DB0}"/>
              </a:ext>
            </a:extLst>
          </p:cNvPr>
          <p:cNvSpPr txBox="1">
            <a:spLocks/>
          </p:cNvSpPr>
          <p:nvPr/>
        </p:nvSpPr>
        <p:spPr>
          <a:xfrm>
            <a:off x="3651923" y="5374932"/>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Actions:</a:t>
            </a:r>
          </a:p>
        </p:txBody>
      </p:sp>
      <p:sp>
        <p:nvSpPr>
          <p:cNvPr id="12" name="Trapezoid 11">
            <a:extLst>
              <a:ext uri="{FF2B5EF4-FFF2-40B4-BE49-F238E27FC236}">
                <a16:creationId xmlns:a16="http://schemas.microsoft.com/office/drawing/2014/main" xmlns="" id="{9160F301-36F6-478C-ABB0-548F09720128}"/>
              </a:ext>
            </a:extLst>
          </p:cNvPr>
          <p:cNvSpPr/>
          <p:nvPr/>
        </p:nvSpPr>
        <p:spPr>
          <a:xfrm rot="5400000">
            <a:off x="5625993" y="3085356"/>
            <a:ext cx="1707797" cy="1889760"/>
          </a:xfrm>
          <a:prstGeom prst="trapezoid">
            <a:avLst>
              <a:gd name="adj" fmla="val 14862"/>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5528339" y="3470028"/>
            <a:ext cx="1883088" cy="131254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Accelerating Crisis Phases</a:t>
            </a:r>
            <a:br>
              <a:rPr lang="en-GB" sz="1600" b="1">
                <a:solidFill>
                  <a:schemeClr val="bg1"/>
                </a:solidFill>
                <a:latin typeface="+mj-lt"/>
                <a:ea typeface="Lato Light" panose="020F0502020204030203" pitchFamily="34" charset="0"/>
                <a:cs typeface="Mukta ExtraLight" panose="020B0000000000000000" pitchFamily="34" charset="77"/>
              </a:rPr>
            </a:br>
            <a:r>
              <a:rPr lang="en-GB" sz="1600" b="1">
                <a:solidFill>
                  <a:schemeClr val="bg1"/>
                </a:solidFill>
                <a:latin typeface="+mj-lt"/>
                <a:ea typeface="Lato Light" panose="020F0502020204030203" pitchFamily="34" charset="0"/>
                <a:cs typeface="Mukta ExtraLight" panose="020B0000000000000000" pitchFamily="34" charset="77"/>
              </a:rPr>
              <a:t/>
            </a:r>
            <a:br>
              <a:rPr lang="en-GB" sz="1600" b="1">
                <a:solidFill>
                  <a:schemeClr val="bg1"/>
                </a:solidFill>
                <a:latin typeface="+mj-lt"/>
                <a:ea typeface="Lato Light" panose="020F0502020204030203" pitchFamily="34" charset="0"/>
                <a:cs typeface="Mukta ExtraLight" panose="020B0000000000000000" pitchFamily="34" charset="77"/>
              </a:rPr>
            </a:br>
            <a:endParaRPr lang="en-GB" sz="1600" b="1">
              <a:solidFill>
                <a:schemeClr val="bg1"/>
              </a:solidFill>
              <a:latin typeface="+mj-lt"/>
              <a:ea typeface="Lato Light" panose="020F0502020204030203" pitchFamily="34" charset="0"/>
              <a:cs typeface="Mukta ExtraLight" panose="020B0000000000000000" pitchFamily="34" charset="77"/>
            </a:endParaRPr>
          </a:p>
          <a:p>
            <a:pPr marL="285750" indent="-285750">
              <a:lnSpc>
                <a:spcPts val="1313"/>
              </a:lnSpc>
              <a:buFont typeface="Wingdings" panose="05000000000000000000" pitchFamily="2" charset="2"/>
              <a:buChar char="à"/>
            </a:pPr>
            <a: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Fewer Strategic</a:t>
            </a:r>
            <a:b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br>
            <a: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Options</a:t>
            </a:r>
          </a:p>
          <a:p>
            <a:pPr>
              <a:lnSpc>
                <a:spcPts val="1313"/>
              </a:lnSpc>
            </a:pP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13" name="Subtitle 2">
            <a:extLst>
              <a:ext uri="{FF2B5EF4-FFF2-40B4-BE49-F238E27FC236}">
                <a16:creationId xmlns:a16="http://schemas.microsoft.com/office/drawing/2014/main" xmlns="" id="{4A73B857-2366-4BF2-BA46-E3276B745461}"/>
              </a:ext>
            </a:extLst>
          </p:cNvPr>
          <p:cNvSpPr txBox="1">
            <a:spLocks/>
          </p:cNvSpPr>
          <p:nvPr/>
        </p:nvSpPr>
        <p:spPr>
          <a:xfrm rot="16200000">
            <a:off x="2553713" y="3929685"/>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latin typeface="+mj-lt"/>
                <a:ea typeface="Lato Light" panose="020F0502020204030203" pitchFamily="34" charset="0"/>
                <a:cs typeface="Mukta ExtraLight" panose="020B0000000000000000" pitchFamily="34" charset="77"/>
              </a:rPr>
              <a:t>Strategic Options</a:t>
            </a:r>
            <a:endParaRPr lang="en-GB" sz="1600" b="1"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931861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1359635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89381" y="474187"/>
            <a:ext cx="8852375" cy="697353"/>
          </a:xfrm>
        </p:spPr>
        <p:txBody>
          <a:bodyPr>
            <a:normAutofit/>
          </a:bodyPr>
          <a:lstStyle/>
          <a:p>
            <a:r>
              <a:rPr lang="en-GB" dirty="0"/>
              <a:t>Strategic Options in Crisis: Late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8601" y="1872343"/>
            <a:ext cx="2832652" cy="49452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Contrary to common belief, insolvency is not necessarily the end of the company. Even if the strategic options are very limited, the legal framework in most countries also allows restructuring within insolvency. </a:t>
            </a:r>
            <a:endParaRPr lang="en-US" sz="1800" dirty="0">
              <a:solidFill>
                <a:srgbClr val="245473"/>
              </a:solidFill>
            </a:endParaRP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As the legal frameworks in Europe vary widely, it is not possible to take a comprehensive view in this course</a:t>
            </a:r>
          </a:p>
          <a:p>
            <a:pPr marL="285750" indent="-285750" algn="l">
              <a:lnSpc>
                <a:spcPct val="100000"/>
              </a:lnSpc>
              <a:spcBef>
                <a:spcPts val="600"/>
              </a:spcBef>
              <a:buFont typeface="Wingdings" panose="05000000000000000000" pitchFamily="2" charset="2"/>
              <a:buChar char="à"/>
            </a:pPr>
            <a:r>
              <a:rPr lang="en-GB" sz="1800" b="1" dirty="0">
                <a:solidFill>
                  <a:srgbClr val="245473"/>
                </a:solidFill>
                <a:latin typeface="+mj-lt"/>
                <a:ea typeface="Open Sans Light" panose="020B0306030504020204" pitchFamily="34" charset="0"/>
                <a:cs typeface="Open Sans Light" panose="020B0306030504020204" pitchFamily="34" charset="0"/>
              </a:rPr>
              <a:t>As a matter of principle, you should urgently obtain legal and business management advice. </a:t>
            </a: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5193166" y="1868372"/>
            <a:ext cx="6770233" cy="84006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No Cash left / Loans in default</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ll financial ratios negative</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ustomers defecting to competitor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No raw materials available</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mployees rushing for door</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awyers taking over</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2" name="Subtitle 2">
            <a:extLst>
              <a:ext uri="{FF2B5EF4-FFF2-40B4-BE49-F238E27FC236}">
                <a16:creationId xmlns:a16="http://schemas.microsoft.com/office/drawing/2014/main" xmlns="" id="{1F6E4C97-8CAB-4036-9373-9E2122B612F6}"/>
              </a:ext>
            </a:extLst>
          </p:cNvPr>
          <p:cNvSpPr txBox="1">
            <a:spLocks/>
          </p:cNvSpPr>
          <p:nvPr/>
        </p:nvSpPr>
        <p:spPr>
          <a:xfrm>
            <a:off x="3602150" y="2007420"/>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Symptoms:</a:t>
            </a:r>
          </a:p>
        </p:txBody>
      </p:sp>
      <p:sp>
        <p:nvSpPr>
          <p:cNvPr id="33" name="Subtitle 2">
            <a:extLst>
              <a:ext uri="{FF2B5EF4-FFF2-40B4-BE49-F238E27FC236}">
                <a16:creationId xmlns:a16="http://schemas.microsoft.com/office/drawing/2014/main" xmlns="" id="{965A91BA-91A2-46A0-B05A-43FD364371D9}"/>
              </a:ext>
            </a:extLst>
          </p:cNvPr>
          <p:cNvSpPr txBox="1">
            <a:spLocks/>
          </p:cNvSpPr>
          <p:nvPr/>
        </p:nvSpPr>
        <p:spPr>
          <a:xfrm>
            <a:off x="5003756" y="5374932"/>
            <a:ext cx="6770233" cy="100661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hab business with new financing</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structuring out of court</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ell Company</a:t>
            </a:r>
          </a:p>
          <a:p>
            <a:pPr marL="182563" indent="-182563" algn="l">
              <a:lnSpc>
                <a:spcPts val="1313"/>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structuring in court</a:t>
            </a:r>
          </a:p>
          <a:p>
            <a:pPr marL="182563" indent="-182563"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xmlns="" id="{89452D08-5BFE-4501-B0A1-B0CAFB0D9DB0}"/>
              </a:ext>
            </a:extLst>
          </p:cNvPr>
          <p:cNvSpPr txBox="1">
            <a:spLocks/>
          </p:cNvSpPr>
          <p:nvPr/>
        </p:nvSpPr>
        <p:spPr>
          <a:xfrm>
            <a:off x="3645252" y="5374932"/>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Actions:</a:t>
            </a:r>
          </a:p>
        </p:txBody>
      </p:sp>
      <p:sp>
        <p:nvSpPr>
          <p:cNvPr id="13" name="Trapezoid 12">
            <a:extLst>
              <a:ext uri="{FF2B5EF4-FFF2-40B4-BE49-F238E27FC236}">
                <a16:creationId xmlns:a16="http://schemas.microsoft.com/office/drawing/2014/main" xmlns="" id="{39210B4B-CAF6-4E86-8239-5405095CD342}"/>
              </a:ext>
            </a:extLst>
          </p:cNvPr>
          <p:cNvSpPr/>
          <p:nvPr/>
        </p:nvSpPr>
        <p:spPr>
          <a:xfrm rot="5400000">
            <a:off x="7767415" y="3089311"/>
            <a:ext cx="1191128" cy="1889760"/>
          </a:xfrm>
          <a:prstGeom prst="trapezoid">
            <a:avLst>
              <a:gd name="adj" fmla="val 23751"/>
            </a:avLst>
          </a:prstGeom>
          <a:solidFill>
            <a:srgbClr val="E532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7411427" y="3722475"/>
            <a:ext cx="1883088" cy="64569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ate Crisis</a:t>
            </a:r>
          </a:p>
          <a:p>
            <a:pPr>
              <a:lnSpc>
                <a:spcPts val="1313"/>
              </a:lnSpc>
            </a:pPr>
            <a:endParaRPr lang="en-GB" sz="1600" b="1">
              <a:solidFill>
                <a:schemeClr val="bg1"/>
              </a:solidFill>
              <a:latin typeface="+mj-lt"/>
              <a:ea typeface="Lato Light" panose="020F0502020204030203" pitchFamily="34" charset="0"/>
              <a:cs typeface="Mukta ExtraLight" panose="020B0000000000000000" pitchFamily="34" charset="77"/>
            </a:endParaRPr>
          </a:p>
          <a:p>
            <a:pPr marL="285750" indent="-285750">
              <a:lnSpc>
                <a:spcPts val="1313"/>
              </a:lnSpc>
              <a:buFont typeface="Wingdings" panose="05000000000000000000" pitchFamily="2" charset="2"/>
              <a:buChar char="à"/>
            </a:pPr>
            <a: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Insolvency</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12" name="Subtitle 2">
            <a:extLst>
              <a:ext uri="{FF2B5EF4-FFF2-40B4-BE49-F238E27FC236}">
                <a16:creationId xmlns:a16="http://schemas.microsoft.com/office/drawing/2014/main" xmlns="" id="{D2942D0A-BB4C-4283-A493-C6E2CD214BF4}"/>
              </a:ext>
            </a:extLst>
          </p:cNvPr>
          <p:cNvSpPr txBox="1">
            <a:spLocks/>
          </p:cNvSpPr>
          <p:nvPr/>
        </p:nvSpPr>
        <p:spPr>
          <a:xfrm rot="16200000">
            <a:off x="2553713" y="3929685"/>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latin typeface="+mj-lt"/>
                <a:ea typeface="Lato Light" panose="020F0502020204030203" pitchFamily="34" charset="0"/>
                <a:cs typeface="Mukta ExtraLight" panose="020B0000000000000000" pitchFamily="34" charset="77"/>
              </a:rPr>
              <a:t>Strategic Options</a:t>
            </a:r>
            <a:endParaRPr lang="en-GB" sz="1600" b="1"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685984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3135614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183296" y="470451"/>
            <a:ext cx="8852375" cy="697353"/>
          </a:xfrm>
        </p:spPr>
        <p:txBody>
          <a:bodyPr>
            <a:normAutofit/>
          </a:bodyPr>
          <a:lstStyle/>
          <a:p>
            <a:r>
              <a:rPr lang="en-GB" dirty="0"/>
              <a:t>Strategic Options in Crisis: Liquidatio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351949" cy="177514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f the restructuring fails, the only remaining option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is to liquidate</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the company. </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2" name="Trapezoid 11">
            <a:extLst>
              <a:ext uri="{FF2B5EF4-FFF2-40B4-BE49-F238E27FC236}">
                <a16:creationId xmlns:a16="http://schemas.microsoft.com/office/drawing/2014/main" xmlns="" id="{94900445-C24F-4DB3-9F60-AC03B625799C}"/>
              </a:ext>
            </a:extLst>
          </p:cNvPr>
          <p:cNvSpPr/>
          <p:nvPr/>
        </p:nvSpPr>
        <p:spPr>
          <a:xfrm rot="5400000">
            <a:off x="10108943" y="2888798"/>
            <a:ext cx="645700" cy="2274556"/>
          </a:xfrm>
          <a:prstGeom prst="trapezoid">
            <a:avLst>
              <a:gd name="adj"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8980644" y="3938431"/>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tio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8" name="Subtitle 2">
            <a:extLst>
              <a:ext uri="{FF2B5EF4-FFF2-40B4-BE49-F238E27FC236}">
                <a16:creationId xmlns:a16="http://schemas.microsoft.com/office/drawing/2014/main" xmlns="" id="{FEB53C4F-2ED9-49C0-A45C-AA24AED145F8}"/>
              </a:ext>
            </a:extLst>
          </p:cNvPr>
          <p:cNvSpPr txBox="1">
            <a:spLocks/>
          </p:cNvSpPr>
          <p:nvPr/>
        </p:nvSpPr>
        <p:spPr>
          <a:xfrm rot="16200000">
            <a:off x="2553713" y="3929685"/>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latin typeface="+mj-lt"/>
                <a:ea typeface="Lato Light" panose="020F0502020204030203" pitchFamily="34" charset="0"/>
                <a:cs typeface="Mukta ExtraLight" panose="020B0000000000000000" pitchFamily="34" charset="77"/>
              </a:rPr>
              <a:t>Strategic Options</a:t>
            </a:r>
            <a:endParaRPr lang="en-GB" sz="1600" b="1"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69831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C3F1630-F84C-4DBB-A92E-B4CBFC5956D4}"/>
              </a:ext>
            </a:extLst>
          </p:cNvPr>
          <p:cNvSpPr>
            <a:spLocks noGrp="1"/>
          </p:cNvSpPr>
          <p:nvPr>
            <p:ph type="body" sz="quarter" idx="11"/>
          </p:nvPr>
        </p:nvSpPr>
        <p:spPr>
          <a:xfrm>
            <a:off x="494411" y="2723027"/>
            <a:ext cx="5285903" cy="1582271"/>
          </a:xfrm>
        </p:spPr>
        <p:txBody>
          <a:bodyPr/>
          <a:lstStyle/>
          <a:p>
            <a:r>
              <a:rPr lang="en-GB" dirty="0"/>
              <a:t>The </a:t>
            </a:r>
            <a:r>
              <a:rPr lang="en-GB"/>
              <a:t>Strategic </a:t>
            </a:r>
            <a:r>
              <a:rPr lang="en-GB" dirty="0"/>
              <a:t>S</a:t>
            </a:r>
            <a:r>
              <a:rPr lang="en-GB"/>
              <a:t>ide of Restructuring</a:t>
            </a:r>
            <a:endParaRPr lang="en-GB" dirty="0"/>
          </a:p>
        </p:txBody>
      </p:sp>
    </p:spTree>
    <p:extLst>
      <p:ext uri="{BB962C8B-B14F-4D97-AF65-F5344CB8AC3E}">
        <p14:creationId xmlns:p14="http://schemas.microsoft.com/office/powerpoint/2010/main" val="1601787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05146" y="573285"/>
            <a:ext cx="8852375" cy="697353"/>
          </a:xfrm>
        </p:spPr>
        <p:txBody>
          <a:bodyPr>
            <a:normAutofit/>
          </a:bodyPr>
          <a:lstStyle/>
          <a:p>
            <a:r>
              <a:rPr lang="en-GB" dirty="0"/>
              <a:t>Content of Restructuring Concept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29735" y="1783083"/>
            <a:ext cx="4228011" cy="492985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The restructuring concept contains a well thought-out and documented path of restructuring from start to finish and a clear statement about its chances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of success.</a:t>
            </a:r>
            <a:endParaRPr lang="en-US" sz="2000" dirty="0">
              <a:solidFill>
                <a:srgbClr val="245473"/>
              </a:solidFill>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With a restructuring concept,  the chances of  success can be effectively increased compared to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a restructuring without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a corresponding concept, and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the above-mentioned liability and rescission risks can be significantly reduced (depending on the legal framework of your country)</a:t>
            </a:r>
            <a:endParaRPr lang="en-GB" sz="2000" dirty="0">
              <a:solidFill>
                <a:srgbClr val="245473"/>
              </a:solidFill>
              <a:latin typeface="Calibri Light"/>
            </a:endParaRPr>
          </a:p>
          <a:p>
            <a:pPr algn="l">
              <a:lnSpc>
                <a:spcPct val="100000"/>
              </a:lnSpc>
              <a:spcBef>
                <a:spcPts val="600"/>
              </a:spcBef>
            </a:pPr>
            <a:endParaRPr lang="en-GB" sz="2000" b="1" dirty="0">
              <a:solidFill>
                <a:schemeClr val="tx1"/>
              </a:solidFill>
              <a:latin typeface="+mj-lt"/>
              <a:ea typeface="Open Sans Light" panose="020B0306030504020204" pitchFamily="34" charset="0"/>
              <a:cs typeface="Open Sans Light" panose="020B0306030504020204" pitchFamily="34" charset="0"/>
            </a:endParaRP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9248426" y="4068646"/>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tio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7" name="Freeform 43">
            <a:extLst>
              <a:ext uri="{FF2B5EF4-FFF2-40B4-BE49-F238E27FC236}">
                <a16:creationId xmlns:a16="http://schemas.microsoft.com/office/drawing/2014/main" xmlns="" id="{10A60327-7D96-495F-8512-39994C311CB4}"/>
              </a:ext>
            </a:extLst>
          </p:cNvPr>
          <p:cNvSpPr>
            <a:spLocks/>
          </p:cNvSpPr>
          <p:nvPr/>
        </p:nvSpPr>
        <p:spPr bwMode="auto">
          <a:xfrm>
            <a:off x="5780965" y="3625115"/>
            <a:ext cx="619534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 name="Freeform 36">
            <a:extLst>
              <a:ext uri="{FF2B5EF4-FFF2-40B4-BE49-F238E27FC236}">
                <a16:creationId xmlns:a16="http://schemas.microsoft.com/office/drawing/2014/main" xmlns="" id="{999339FF-8EB8-44FF-B960-45799EDF7C5A}"/>
              </a:ext>
            </a:extLst>
          </p:cNvPr>
          <p:cNvSpPr>
            <a:spLocks/>
          </p:cNvSpPr>
          <p:nvPr/>
        </p:nvSpPr>
        <p:spPr bwMode="auto">
          <a:xfrm>
            <a:off x="5043413" y="362511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 name="Freeform 37">
            <a:extLst>
              <a:ext uri="{FF2B5EF4-FFF2-40B4-BE49-F238E27FC236}">
                <a16:creationId xmlns:a16="http://schemas.microsoft.com/office/drawing/2014/main" xmlns="" id="{32740010-B222-43C7-B252-DA109FFD2499}"/>
              </a:ext>
            </a:extLst>
          </p:cNvPr>
          <p:cNvSpPr>
            <a:spLocks/>
          </p:cNvSpPr>
          <p:nvPr/>
        </p:nvSpPr>
        <p:spPr bwMode="auto">
          <a:xfrm>
            <a:off x="5043413" y="362511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1" name="TextBox 47">
            <a:extLst>
              <a:ext uri="{FF2B5EF4-FFF2-40B4-BE49-F238E27FC236}">
                <a16:creationId xmlns:a16="http://schemas.microsoft.com/office/drawing/2014/main" xmlns="" id="{24FE2CA3-F0D2-4096-8B89-DA2879EA50FF}"/>
              </a:ext>
            </a:extLst>
          </p:cNvPr>
          <p:cNvSpPr txBox="1"/>
          <p:nvPr/>
        </p:nvSpPr>
        <p:spPr>
          <a:xfrm>
            <a:off x="4962665" y="3624765"/>
            <a:ext cx="1441420" cy="584775"/>
          </a:xfrm>
          <a:prstGeom prst="rect">
            <a:avLst/>
          </a:prstGeom>
          <a:noFill/>
        </p:spPr>
        <p:txBody>
          <a:bodyPr wrap="none" lIns="91440" tIns="45720" rIns="91440" bIns="45720" rtlCol="0" anchor="t">
            <a:spAutoFit/>
          </a:bodyPr>
          <a:lstStyle/>
          <a:p>
            <a:pPr algn="ctr"/>
            <a:r>
              <a:rPr lang="en-GB" sz="1600" b="1" dirty="0">
                <a:solidFill>
                  <a:schemeClr val="bg1"/>
                </a:solidFill>
                <a:latin typeface="+mj-lt"/>
                <a:ea typeface="Roboto" charset="0"/>
                <a:cs typeface="Roboto" charset="0"/>
              </a:rPr>
              <a:t>Vision, Mission </a:t>
            </a:r>
            <a:r>
              <a:rPr lang="en-GB" sz="1600" b="1" dirty="0">
                <a:latin typeface="+mj-lt"/>
                <a:ea typeface="Roboto" charset="0"/>
                <a:cs typeface="Roboto" charset="0"/>
              </a:rPr>
              <a:t/>
            </a:r>
            <a:br>
              <a:rPr lang="en-GB" sz="1600" b="1" dirty="0">
                <a:latin typeface="+mj-lt"/>
                <a:ea typeface="Roboto" charset="0"/>
                <a:cs typeface="Roboto" charset="0"/>
              </a:rPr>
            </a:br>
            <a:r>
              <a:rPr lang="en-GB" sz="1600" b="1" dirty="0">
                <a:solidFill>
                  <a:schemeClr val="bg1"/>
                </a:solidFill>
                <a:latin typeface="+mj-lt"/>
                <a:ea typeface="Roboto" charset="0"/>
                <a:cs typeface="Roboto" charset="0"/>
              </a:rPr>
              <a:t>and Measures</a:t>
            </a:r>
          </a:p>
        </p:txBody>
      </p:sp>
      <p:sp>
        <p:nvSpPr>
          <p:cNvPr id="12" name="Rectangle 48">
            <a:extLst>
              <a:ext uri="{FF2B5EF4-FFF2-40B4-BE49-F238E27FC236}">
                <a16:creationId xmlns:a16="http://schemas.microsoft.com/office/drawing/2014/main" xmlns="" id="{063DE694-D917-41AA-9416-2B9195B97796}"/>
              </a:ext>
            </a:extLst>
          </p:cNvPr>
          <p:cNvSpPr>
            <a:spLocks/>
          </p:cNvSpPr>
          <p:nvPr/>
        </p:nvSpPr>
        <p:spPr bwMode="auto">
          <a:xfrm>
            <a:off x="5392235" y="4040113"/>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2</a:t>
            </a:r>
            <a:endParaRPr lang="en-GB" sz="3601" b="1" spc="113" dirty="0">
              <a:solidFill>
                <a:schemeClr val="bg1"/>
              </a:solidFill>
              <a:latin typeface="+mj-lt"/>
              <a:ea typeface="Roboto" charset="0"/>
              <a:cs typeface="Roboto" charset="0"/>
              <a:sym typeface="Bebas Neue" charset="0"/>
            </a:endParaRPr>
          </a:p>
        </p:txBody>
      </p:sp>
      <p:sp>
        <p:nvSpPr>
          <p:cNvPr id="13" name="TextBox 49">
            <a:extLst>
              <a:ext uri="{FF2B5EF4-FFF2-40B4-BE49-F238E27FC236}">
                <a16:creationId xmlns:a16="http://schemas.microsoft.com/office/drawing/2014/main" xmlns="" id="{AB10EE70-B55F-43A1-BEDD-FDBA032F708C}"/>
              </a:ext>
            </a:extLst>
          </p:cNvPr>
          <p:cNvSpPr txBox="1"/>
          <p:nvPr/>
        </p:nvSpPr>
        <p:spPr>
          <a:xfrm>
            <a:off x="6492598" y="3700996"/>
            <a:ext cx="5572222" cy="970779"/>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Presentation of the vision and mission statement of the restructured company. Statements on the necessary operational or financial restructuring measures and restructuring contributions of the various parties involved</a:t>
            </a:r>
          </a:p>
        </p:txBody>
      </p:sp>
      <p:sp>
        <p:nvSpPr>
          <p:cNvPr id="14" name="Freeform 43">
            <a:extLst>
              <a:ext uri="{FF2B5EF4-FFF2-40B4-BE49-F238E27FC236}">
                <a16:creationId xmlns:a16="http://schemas.microsoft.com/office/drawing/2014/main" xmlns="" id="{F80E4697-CB9F-4AB0-902E-3D174455F0DE}"/>
              </a:ext>
            </a:extLst>
          </p:cNvPr>
          <p:cNvSpPr>
            <a:spLocks/>
          </p:cNvSpPr>
          <p:nvPr/>
        </p:nvSpPr>
        <p:spPr bwMode="auto">
          <a:xfrm>
            <a:off x="5780965" y="4855667"/>
            <a:ext cx="619534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5" name="Freeform 36">
            <a:extLst>
              <a:ext uri="{FF2B5EF4-FFF2-40B4-BE49-F238E27FC236}">
                <a16:creationId xmlns:a16="http://schemas.microsoft.com/office/drawing/2014/main" xmlns="" id="{49494F74-65AD-48D4-81B4-AD9B6A52F0C8}"/>
              </a:ext>
            </a:extLst>
          </p:cNvPr>
          <p:cNvSpPr>
            <a:spLocks/>
          </p:cNvSpPr>
          <p:nvPr/>
        </p:nvSpPr>
        <p:spPr bwMode="auto">
          <a:xfrm>
            <a:off x="5043413" y="485566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6" name="Freeform 37">
            <a:extLst>
              <a:ext uri="{FF2B5EF4-FFF2-40B4-BE49-F238E27FC236}">
                <a16:creationId xmlns:a16="http://schemas.microsoft.com/office/drawing/2014/main" xmlns="" id="{39BF6772-0A33-4A89-A8AC-0C867B8FD1E1}"/>
              </a:ext>
            </a:extLst>
          </p:cNvPr>
          <p:cNvSpPr>
            <a:spLocks/>
          </p:cNvSpPr>
          <p:nvPr/>
        </p:nvSpPr>
        <p:spPr bwMode="auto">
          <a:xfrm>
            <a:off x="5043413" y="485566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TextBox 56">
            <a:extLst>
              <a:ext uri="{FF2B5EF4-FFF2-40B4-BE49-F238E27FC236}">
                <a16:creationId xmlns:a16="http://schemas.microsoft.com/office/drawing/2014/main" xmlns="" id="{3B7337CA-FE2D-467B-A8AD-81B8BC6A4816}"/>
              </a:ext>
            </a:extLst>
          </p:cNvPr>
          <p:cNvSpPr txBox="1"/>
          <p:nvPr/>
        </p:nvSpPr>
        <p:spPr>
          <a:xfrm>
            <a:off x="4996916" y="5091366"/>
            <a:ext cx="1228221" cy="338554"/>
          </a:xfrm>
          <a:prstGeom prst="rect">
            <a:avLst/>
          </a:prstGeom>
          <a:noFill/>
        </p:spPr>
        <p:txBody>
          <a:bodyPr wrap="none" lIns="91440" tIns="45720" rIns="91440" bIns="45720" rtlCol="0" anchor="t">
            <a:spAutoFit/>
          </a:bodyPr>
          <a:lstStyle/>
          <a:p>
            <a:pPr algn="ctr"/>
            <a:r>
              <a:rPr lang="en-GB" sz="1600" b="1" dirty="0">
                <a:solidFill>
                  <a:schemeClr val="bg1"/>
                </a:solidFill>
                <a:latin typeface="+mj-lt"/>
                <a:ea typeface="Roboto" charset="0"/>
                <a:cs typeface="Roboto" charset="0"/>
              </a:rPr>
              <a:t>Businessplan</a:t>
            </a:r>
          </a:p>
        </p:txBody>
      </p:sp>
      <p:sp>
        <p:nvSpPr>
          <p:cNvPr id="18" name="Rectangle 59">
            <a:extLst>
              <a:ext uri="{FF2B5EF4-FFF2-40B4-BE49-F238E27FC236}">
                <a16:creationId xmlns:a16="http://schemas.microsoft.com/office/drawing/2014/main" xmlns="" id="{BEB4029C-F692-4996-B015-D82C01BA231E}"/>
              </a:ext>
            </a:extLst>
          </p:cNvPr>
          <p:cNvSpPr>
            <a:spLocks/>
          </p:cNvSpPr>
          <p:nvPr/>
        </p:nvSpPr>
        <p:spPr bwMode="auto">
          <a:xfrm>
            <a:off x="5392235" y="5270665"/>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3</a:t>
            </a:r>
            <a:endParaRPr lang="en-GB" sz="3601" b="1" spc="113" dirty="0">
              <a:solidFill>
                <a:schemeClr val="bg1"/>
              </a:solidFill>
              <a:latin typeface="+mj-lt"/>
              <a:ea typeface="Roboto" charset="0"/>
              <a:cs typeface="Roboto" charset="0"/>
              <a:sym typeface="Bebas Neue" charset="0"/>
            </a:endParaRPr>
          </a:p>
        </p:txBody>
      </p:sp>
      <p:sp>
        <p:nvSpPr>
          <p:cNvPr id="19" name="TextBox 80">
            <a:extLst>
              <a:ext uri="{FF2B5EF4-FFF2-40B4-BE49-F238E27FC236}">
                <a16:creationId xmlns:a16="http://schemas.microsoft.com/office/drawing/2014/main" xmlns="" id="{5395CE55-7837-4FE4-93F3-E67DC912226D}"/>
              </a:ext>
            </a:extLst>
          </p:cNvPr>
          <p:cNvSpPr txBox="1"/>
          <p:nvPr/>
        </p:nvSpPr>
        <p:spPr>
          <a:xfrm>
            <a:off x="6492598" y="4870438"/>
            <a:ext cx="5153023" cy="970779"/>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Presentation of the liquidity, earnings and asset planning of the company, taking into account the restructuring measures and contributions (integrated corporate planning)</a:t>
            </a:r>
          </a:p>
        </p:txBody>
      </p:sp>
      <p:sp>
        <p:nvSpPr>
          <p:cNvPr id="20" name="Freeform 43">
            <a:extLst>
              <a:ext uri="{FF2B5EF4-FFF2-40B4-BE49-F238E27FC236}">
                <a16:creationId xmlns:a16="http://schemas.microsoft.com/office/drawing/2014/main" xmlns="" id="{30604E6C-1FF4-4246-B35C-B15AE420B1AB}"/>
              </a:ext>
            </a:extLst>
          </p:cNvPr>
          <p:cNvSpPr>
            <a:spLocks/>
          </p:cNvSpPr>
          <p:nvPr/>
        </p:nvSpPr>
        <p:spPr bwMode="auto">
          <a:xfrm>
            <a:off x="5801184" y="2379791"/>
            <a:ext cx="619534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1" name="Freeform 36">
            <a:extLst>
              <a:ext uri="{FF2B5EF4-FFF2-40B4-BE49-F238E27FC236}">
                <a16:creationId xmlns:a16="http://schemas.microsoft.com/office/drawing/2014/main" xmlns="" id="{0C488950-EF86-4F53-9575-F5C2F764F182}"/>
              </a:ext>
            </a:extLst>
          </p:cNvPr>
          <p:cNvSpPr>
            <a:spLocks/>
          </p:cNvSpPr>
          <p:nvPr/>
        </p:nvSpPr>
        <p:spPr bwMode="auto">
          <a:xfrm>
            <a:off x="5043413" y="237979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2" name="Freeform 37">
            <a:extLst>
              <a:ext uri="{FF2B5EF4-FFF2-40B4-BE49-F238E27FC236}">
                <a16:creationId xmlns:a16="http://schemas.microsoft.com/office/drawing/2014/main" xmlns="" id="{EF749FCF-1022-451D-A247-DA3DBFF70986}"/>
              </a:ext>
            </a:extLst>
          </p:cNvPr>
          <p:cNvSpPr>
            <a:spLocks/>
          </p:cNvSpPr>
          <p:nvPr/>
        </p:nvSpPr>
        <p:spPr bwMode="auto">
          <a:xfrm>
            <a:off x="5043413" y="237979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3" name="TextBox 84">
            <a:extLst>
              <a:ext uri="{FF2B5EF4-FFF2-40B4-BE49-F238E27FC236}">
                <a16:creationId xmlns:a16="http://schemas.microsoft.com/office/drawing/2014/main" xmlns="" id="{CE0950E1-18B8-4FC8-B404-314FCDD775AD}"/>
              </a:ext>
            </a:extLst>
          </p:cNvPr>
          <p:cNvSpPr txBox="1"/>
          <p:nvPr/>
        </p:nvSpPr>
        <p:spPr>
          <a:xfrm>
            <a:off x="5162223" y="2389952"/>
            <a:ext cx="891205" cy="584775"/>
          </a:xfrm>
          <a:prstGeom prst="rect">
            <a:avLst/>
          </a:prstGeom>
          <a:noFill/>
        </p:spPr>
        <p:txBody>
          <a:bodyPr wrap="none" lIns="91440" tIns="45720" rIns="91440" bIns="45720" rtlCol="0" anchor="t">
            <a:spAutoFit/>
          </a:bodyPr>
          <a:lstStyle/>
          <a:p>
            <a:pPr algn="ctr"/>
            <a:r>
              <a:rPr lang="en-GB" sz="1600" b="1">
                <a:solidFill>
                  <a:schemeClr val="bg1"/>
                </a:solidFill>
                <a:latin typeface="+mj-lt"/>
              </a:rPr>
              <a:t>Initial </a:t>
            </a:r>
            <a:r>
              <a:rPr lang="en-GB" sz="1600" b="1" dirty="0">
                <a:latin typeface="+mj-lt"/>
              </a:rPr>
              <a:t/>
            </a:r>
            <a:br>
              <a:rPr lang="en-GB" sz="1600" b="1" dirty="0">
                <a:latin typeface="+mj-lt"/>
              </a:rPr>
            </a:br>
            <a:r>
              <a:rPr lang="en-GB" sz="1600" b="1">
                <a:solidFill>
                  <a:schemeClr val="bg1"/>
                </a:solidFill>
                <a:latin typeface="+mj-lt"/>
              </a:rPr>
              <a:t>situation</a:t>
            </a:r>
            <a:endParaRPr lang="en-GB" sz="1600" b="1">
              <a:solidFill>
                <a:schemeClr val="bg1"/>
              </a:solidFill>
              <a:latin typeface="Calibri Light"/>
            </a:endParaRPr>
          </a:p>
        </p:txBody>
      </p:sp>
      <p:sp>
        <p:nvSpPr>
          <p:cNvPr id="24" name="Rectangle 85">
            <a:extLst>
              <a:ext uri="{FF2B5EF4-FFF2-40B4-BE49-F238E27FC236}">
                <a16:creationId xmlns:a16="http://schemas.microsoft.com/office/drawing/2014/main" xmlns="" id="{5469B736-DF39-4D11-A744-23E93CB730DF}"/>
              </a:ext>
            </a:extLst>
          </p:cNvPr>
          <p:cNvSpPr>
            <a:spLocks/>
          </p:cNvSpPr>
          <p:nvPr/>
        </p:nvSpPr>
        <p:spPr bwMode="auto">
          <a:xfrm>
            <a:off x="5392235" y="2794789"/>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1</a:t>
            </a:r>
            <a:endParaRPr lang="en-GB" sz="3601" b="1" spc="113" dirty="0">
              <a:solidFill>
                <a:schemeClr val="bg1"/>
              </a:solidFill>
              <a:latin typeface="+mj-lt"/>
              <a:ea typeface="Roboto" charset="0"/>
              <a:cs typeface="Roboto" charset="0"/>
              <a:sym typeface="Bebas Neue" charset="0"/>
            </a:endParaRPr>
          </a:p>
        </p:txBody>
      </p:sp>
      <p:sp>
        <p:nvSpPr>
          <p:cNvPr id="25" name="TextBox 86">
            <a:extLst>
              <a:ext uri="{FF2B5EF4-FFF2-40B4-BE49-F238E27FC236}">
                <a16:creationId xmlns:a16="http://schemas.microsoft.com/office/drawing/2014/main" xmlns="" id="{3EC296D2-01F5-4282-8CB3-C8A4BD9A3A17}"/>
              </a:ext>
            </a:extLst>
          </p:cNvPr>
          <p:cNvSpPr txBox="1"/>
          <p:nvPr/>
        </p:nvSpPr>
        <p:spPr>
          <a:xfrm>
            <a:off x="6462377" y="2553170"/>
            <a:ext cx="5153023" cy="752770"/>
          </a:xfrm>
          <a:prstGeom prst="rect">
            <a:avLst/>
          </a:prstGeom>
          <a:noFill/>
        </p:spPr>
        <p:txBody>
          <a:bodyPr wrap="square" lIns="91440" tIns="45720" rIns="91440" bIns="45720" rtlCol="0" anchor="t">
            <a:spAutoFit/>
          </a:bodyPr>
          <a:lstStyle/>
          <a:p>
            <a:pPr>
              <a:lnSpc>
                <a:spcPts val="1665"/>
              </a:lnSpc>
            </a:pPr>
            <a:r>
              <a:rPr lang="en-GB" sz="2000" dirty="0">
                <a:solidFill>
                  <a:schemeClr val="bg1"/>
                </a:solidFill>
                <a:latin typeface="+mj-lt"/>
                <a:ea typeface="Lato Light" charset="0"/>
                <a:cs typeface="Lato Light" charset="0"/>
              </a:rPr>
              <a:t>Statements about essential company data, economic and legal influencing factors and the (central) causes of the crisis</a:t>
            </a:r>
          </a:p>
        </p:txBody>
      </p:sp>
    </p:spTree>
    <p:extLst>
      <p:ext uri="{BB962C8B-B14F-4D97-AF65-F5344CB8AC3E}">
        <p14:creationId xmlns:p14="http://schemas.microsoft.com/office/powerpoint/2010/main" val="2254485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UZhYgDBPgDtA1MLG6uo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5</TotalTime>
  <Words>3481</Words>
  <Application>Microsoft Office PowerPoint</Application>
  <PresentationFormat>Custom</PresentationFormat>
  <Paragraphs>443</Paragraphs>
  <Slides>38</Slides>
  <Notes>38</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1" baseType="lpstr">
      <vt:lpstr>Office Theme</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1668</cp:revision>
  <cp:lastPrinted>2021-03-14T10:03:49Z</cp:lastPrinted>
  <dcterms:created xsi:type="dcterms:W3CDTF">2020-11-19T10:19:39Z</dcterms:created>
  <dcterms:modified xsi:type="dcterms:W3CDTF">2022-04-21T14:35:30Z</dcterms:modified>
</cp:coreProperties>
</file>